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6" r:id="rId2"/>
    <p:sldId id="290" r:id="rId3"/>
    <p:sldId id="289" r:id="rId4"/>
    <p:sldId id="287" r:id="rId5"/>
    <p:sldId id="288" r:id="rId6"/>
    <p:sldId id="291" r:id="rId7"/>
    <p:sldId id="292" r:id="rId8"/>
  </p:sldIdLst>
  <p:sldSz cx="9144000" cy="6858000" type="screen4x3"/>
  <p:notesSz cx="6858000" cy="9144000"/>
  <p:custDataLst>
    <p:tags r:id="rId11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18" d="100"/>
          <a:sy n="118" d="100"/>
        </p:scale>
        <p:origin x="1386" y="96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7/31/201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229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31/07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562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2419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2922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0692B-E0F8-4B17-BC73-08F725113356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97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 smtClean="0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Untertitel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 smtClean="0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 smtClean="0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 smtClean="0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 smtClean="0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1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 smtClean="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 smtClean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 smtClean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</a:t>
            </a: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 smtClean="0"/>
              <a:t>Name</a:t>
            </a:r>
            <a:endParaRPr lang="de-DE" dirty="0"/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 smtClean="0"/>
              <a:t>vorname.name</a:t>
            </a:r>
            <a:endParaRPr lang="de-DE" dirty="0"/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 smtClean="0"/>
              <a:t>Veranstaltung</a:t>
            </a:r>
            <a:endParaRPr lang="en-US" dirty="0" smtClean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smtClean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962" y="12254"/>
            <a:ext cx="4850443" cy="186348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632" y="2182122"/>
            <a:ext cx="4169571" cy="131101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0319" y="3999836"/>
            <a:ext cx="7262084" cy="2147218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311860" y="764704"/>
            <a:ext cx="3348372" cy="161773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732240" y="1569636"/>
            <a:ext cx="0" cy="2651452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3923928" y="2996952"/>
            <a:ext cx="0" cy="1224136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5868144" y="522920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7956376" y="4365104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03700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8973" y="4079930"/>
            <a:ext cx="6585027" cy="278552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cxnSp>
        <p:nvCxnSpPr>
          <p:cNvPr id="8" name="Gerade Verbindung mit Pfeil 7"/>
          <p:cNvCxnSpPr/>
          <p:nvPr/>
        </p:nvCxnSpPr>
        <p:spPr>
          <a:xfrm flipH="1">
            <a:off x="3203848" y="764704"/>
            <a:ext cx="3456384" cy="144016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6876256" y="1484784"/>
            <a:ext cx="248520" cy="2736304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/>
          <p:nvPr/>
        </p:nvCxnSpPr>
        <p:spPr>
          <a:xfrm>
            <a:off x="2863564" y="3009119"/>
            <a:ext cx="340284" cy="121196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Ellipse 14"/>
          <p:cNvSpPr/>
          <p:nvPr/>
        </p:nvSpPr>
        <p:spPr bwMode="auto">
          <a:xfrm>
            <a:off x="6228184" y="5157192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8100392" y="4329370"/>
            <a:ext cx="216024" cy="22133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4976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973" y="4079930"/>
            <a:ext cx="6585027" cy="278552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3968" y="78828"/>
            <a:ext cx="4680520" cy="262109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060848"/>
            <a:ext cx="3819424" cy="1896542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1</a:t>
            </a:r>
            <a:endParaRPr lang="de-DE" dirty="0"/>
          </a:p>
        </p:txBody>
      </p:sp>
      <p:sp>
        <p:nvSpPr>
          <p:cNvPr id="5" name="Freihandform 4"/>
          <p:cNvSpPr/>
          <p:nvPr/>
        </p:nvSpPr>
        <p:spPr bwMode="auto">
          <a:xfrm>
            <a:off x="5008970" y="873940"/>
            <a:ext cx="1691235" cy="844459"/>
          </a:xfrm>
          <a:custGeom>
            <a:avLst/>
            <a:gdLst>
              <a:gd name="connsiteX0" fmla="*/ 0 w 1691235"/>
              <a:gd name="connsiteY0" fmla="*/ 825387 h 844459"/>
              <a:gd name="connsiteX1" fmla="*/ 631179 w 1691235"/>
              <a:gd name="connsiteY1" fmla="*/ 825387 h 844459"/>
              <a:gd name="connsiteX2" fmla="*/ 679731 w 1691235"/>
              <a:gd name="connsiteY2" fmla="*/ 817295 h 844459"/>
              <a:gd name="connsiteX3" fmla="*/ 736375 w 1691235"/>
              <a:gd name="connsiteY3" fmla="*/ 809203 h 844459"/>
              <a:gd name="connsiteX4" fmla="*/ 784927 w 1691235"/>
              <a:gd name="connsiteY4" fmla="*/ 793019 h 844459"/>
              <a:gd name="connsiteX5" fmla="*/ 809203 w 1691235"/>
              <a:gd name="connsiteY5" fmla="*/ 784927 h 844459"/>
              <a:gd name="connsiteX6" fmla="*/ 849664 w 1691235"/>
              <a:gd name="connsiteY6" fmla="*/ 760651 h 844459"/>
              <a:gd name="connsiteX7" fmla="*/ 898216 w 1691235"/>
              <a:gd name="connsiteY7" fmla="*/ 728283 h 844459"/>
              <a:gd name="connsiteX8" fmla="*/ 922492 w 1691235"/>
              <a:gd name="connsiteY8" fmla="*/ 712099 h 844459"/>
              <a:gd name="connsiteX9" fmla="*/ 946768 w 1691235"/>
              <a:gd name="connsiteY9" fmla="*/ 695915 h 844459"/>
              <a:gd name="connsiteX10" fmla="*/ 962952 w 1691235"/>
              <a:gd name="connsiteY10" fmla="*/ 671639 h 844459"/>
              <a:gd name="connsiteX11" fmla="*/ 1011504 w 1691235"/>
              <a:gd name="connsiteY11" fmla="*/ 639271 h 844459"/>
              <a:gd name="connsiteX12" fmla="*/ 1043872 w 1691235"/>
              <a:gd name="connsiteY12" fmla="*/ 590718 h 844459"/>
              <a:gd name="connsiteX13" fmla="*/ 1084333 w 1691235"/>
              <a:gd name="connsiteY13" fmla="*/ 550258 h 844459"/>
              <a:gd name="connsiteX14" fmla="*/ 1100517 w 1691235"/>
              <a:gd name="connsiteY14" fmla="*/ 525982 h 844459"/>
              <a:gd name="connsiteX15" fmla="*/ 1149069 w 1691235"/>
              <a:gd name="connsiteY15" fmla="*/ 485522 h 844459"/>
              <a:gd name="connsiteX16" fmla="*/ 1189529 w 1691235"/>
              <a:gd name="connsiteY16" fmla="*/ 445062 h 844459"/>
              <a:gd name="connsiteX17" fmla="*/ 1229989 w 1691235"/>
              <a:gd name="connsiteY17" fmla="*/ 404602 h 844459"/>
              <a:gd name="connsiteX18" fmla="*/ 1262357 w 1691235"/>
              <a:gd name="connsiteY18" fmla="*/ 356049 h 844459"/>
              <a:gd name="connsiteX19" fmla="*/ 1302818 w 1691235"/>
              <a:gd name="connsiteY19" fmla="*/ 315589 h 844459"/>
              <a:gd name="connsiteX20" fmla="*/ 1335186 w 1691235"/>
              <a:gd name="connsiteY20" fmla="*/ 267037 h 844459"/>
              <a:gd name="connsiteX21" fmla="*/ 1408014 w 1691235"/>
              <a:gd name="connsiteY21" fmla="*/ 194209 h 844459"/>
              <a:gd name="connsiteX22" fmla="*/ 1432290 w 1691235"/>
              <a:gd name="connsiteY22" fmla="*/ 169933 h 844459"/>
              <a:gd name="connsiteX23" fmla="*/ 1480842 w 1691235"/>
              <a:gd name="connsiteY23" fmla="*/ 137564 h 844459"/>
              <a:gd name="connsiteX24" fmla="*/ 1505118 w 1691235"/>
              <a:gd name="connsiteY24" fmla="*/ 121380 h 844459"/>
              <a:gd name="connsiteX25" fmla="*/ 1545579 w 1691235"/>
              <a:gd name="connsiteY25" fmla="*/ 89012 h 844459"/>
              <a:gd name="connsiteX26" fmla="*/ 1569855 w 1691235"/>
              <a:gd name="connsiteY26" fmla="*/ 80920 h 844459"/>
              <a:gd name="connsiteX27" fmla="*/ 1594131 w 1691235"/>
              <a:gd name="connsiteY27" fmla="*/ 56644 h 844459"/>
              <a:gd name="connsiteX28" fmla="*/ 1618407 w 1691235"/>
              <a:gd name="connsiteY28" fmla="*/ 48552 h 844459"/>
              <a:gd name="connsiteX29" fmla="*/ 1666959 w 1691235"/>
              <a:gd name="connsiteY29" fmla="*/ 16184 h 844459"/>
              <a:gd name="connsiteX30" fmla="*/ 1691235 w 1691235"/>
              <a:gd name="connsiteY30" fmla="*/ 0 h 844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691235" h="844459">
                <a:moveTo>
                  <a:pt x="0" y="825387"/>
                </a:moveTo>
                <a:cubicBezTo>
                  <a:pt x="242087" y="859971"/>
                  <a:pt x="79376" y="839719"/>
                  <a:pt x="631179" y="825387"/>
                </a:cubicBezTo>
                <a:cubicBezTo>
                  <a:pt x="647581" y="824961"/>
                  <a:pt x="663515" y="819790"/>
                  <a:pt x="679731" y="817295"/>
                </a:cubicBezTo>
                <a:cubicBezTo>
                  <a:pt x="698582" y="814395"/>
                  <a:pt x="717494" y="811900"/>
                  <a:pt x="736375" y="809203"/>
                </a:cubicBezTo>
                <a:lnTo>
                  <a:pt x="784927" y="793019"/>
                </a:lnTo>
                <a:lnTo>
                  <a:pt x="809203" y="784927"/>
                </a:lnTo>
                <a:cubicBezTo>
                  <a:pt x="845515" y="748617"/>
                  <a:pt x="802391" y="786914"/>
                  <a:pt x="849664" y="760651"/>
                </a:cubicBezTo>
                <a:cubicBezTo>
                  <a:pt x="866667" y="751205"/>
                  <a:pt x="882032" y="739072"/>
                  <a:pt x="898216" y="728283"/>
                </a:cubicBezTo>
                <a:lnTo>
                  <a:pt x="922492" y="712099"/>
                </a:lnTo>
                <a:lnTo>
                  <a:pt x="946768" y="695915"/>
                </a:lnTo>
                <a:cubicBezTo>
                  <a:pt x="952163" y="687823"/>
                  <a:pt x="955633" y="678043"/>
                  <a:pt x="962952" y="671639"/>
                </a:cubicBezTo>
                <a:cubicBezTo>
                  <a:pt x="977590" y="658831"/>
                  <a:pt x="1011504" y="639271"/>
                  <a:pt x="1011504" y="639271"/>
                </a:cubicBezTo>
                <a:cubicBezTo>
                  <a:pt x="1022293" y="623087"/>
                  <a:pt x="1030118" y="604472"/>
                  <a:pt x="1043872" y="590718"/>
                </a:cubicBezTo>
                <a:cubicBezTo>
                  <a:pt x="1057359" y="577231"/>
                  <a:pt x="1073753" y="566128"/>
                  <a:pt x="1084333" y="550258"/>
                </a:cubicBezTo>
                <a:cubicBezTo>
                  <a:pt x="1089728" y="542166"/>
                  <a:pt x="1094291" y="533453"/>
                  <a:pt x="1100517" y="525982"/>
                </a:cubicBezTo>
                <a:cubicBezTo>
                  <a:pt x="1119988" y="502617"/>
                  <a:pt x="1125199" y="501435"/>
                  <a:pt x="1149069" y="485522"/>
                </a:cubicBezTo>
                <a:cubicBezTo>
                  <a:pt x="1192226" y="420786"/>
                  <a:pt x="1135582" y="499009"/>
                  <a:pt x="1189529" y="445062"/>
                </a:cubicBezTo>
                <a:cubicBezTo>
                  <a:pt x="1243476" y="391115"/>
                  <a:pt x="1165253" y="447759"/>
                  <a:pt x="1229989" y="404602"/>
                </a:cubicBezTo>
                <a:cubicBezTo>
                  <a:pt x="1240778" y="388418"/>
                  <a:pt x="1248603" y="369803"/>
                  <a:pt x="1262357" y="356049"/>
                </a:cubicBezTo>
                <a:cubicBezTo>
                  <a:pt x="1275844" y="342562"/>
                  <a:pt x="1292238" y="331459"/>
                  <a:pt x="1302818" y="315589"/>
                </a:cubicBezTo>
                <a:cubicBezTo>
                  <a:pt x="1313607" y="299405"/>
                  <a:pt x="1321432" y="280791"/>
                  <a:pt x="1335186" y="267037"/>
                </a:cubicBezTo>
                <a:lnTo>
                  <a:pt x="1408014" y="194209"/>
                </a:lnTo>
                <a:cubicBezTo>
                  <a:pt x="1416106" y="186117"/>
                  <a:pt x="1422768" y="176281"/>
                  <a:pt x="1432290" y="169933"/>
                </a:cubicBezTo>
                <a:lnTo>
                  <a:pt x="1480842" y="137564"/>
                </a:lnTo>
                <a:cubicBezTo>
                  <a:pt x="1488934" y="132169"/>
                  <a:pt x="1498241" y="128257"/>
                  <a:pt x="1505118" y="121380"/>
                </a:cubicBezTo>
                <a:cubicBezTo>
                  <a:pt x="1520171" y="106328"/>
                  <a:pt x="1525164" y="99219"/>
                  <a:pt x="1545579" y="89012"/>
                </a:cubicBezTo>
                <a:cubicBezTo>
                  <a:pt x="1553208" y="85197"/>
                  <a:pt x="1561763" y="83617"/>
                  <a:pt x="1569855" y="80920"/>
                </a:cubicBezTo>
                <a:cubicBezTo>
                  <a:pt x="1577947" y="72828"/>
                  <a:pt x="1584609" y="62992"/>
                  <a:pt x="1594131" y="56644"/>
                </a:cubicBezTo>
                <a:cubicBezTo>
                  <a:pt x="1601228" y="51913"/>
                  <a:pt x="1610951" y="52694"/>
                  <a:pt x="1618407" y="48552"/>
                </a:cubicBezTo>
                <a:cubicBezTo>
                  <a:pt x="1635410" y="39106"/>
                  <a:pt x="1650775" y="26973"/>
                  <a:pt x="1666959" y="16184"/>
                </a:cubicBezTo>
                <a:lnTo>
                  <a:pt x="1691235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372234" y="898216"/>
            <a:ext cx="6433168" cy="2500439"/>
          </a:xfrm>
          <a:custGeom>
            <a:avLst/>
            <a:gdLst>
              <a:gd name="connsiteX0" fmla="*/ 6433168 w 6433168"/>
              <a:gd name="connsiteY0" fmla="*/ 0 h 2500439"/>
              <a:gd name="connsiteX1" fmla="*/ 6376524 w 6433168"/>
              <a:gd name="connsiteY1" fmla="*/ 129472 h 2500439"/>
              <a:gd name="connsiteX2" fmla="*/ 6344155 w 6433168"/>
              <a:gd name="connsiteY2" fmla="*/ 169933 h 2500439"/>
              <a:gd name="connsiteX3" fmla="*/ 6303695 w 6433168"/>
              <a:gd name="connsiteY3" fmla="*/ 258945 h 2500439"/>
              <a:gd name="connsiteX4" fmla="*/ 6247051 w 6433168"/>
              <a:gd name="connsiteY4" fmla="*/ 339865 h 2500439"/>
              <a:gd name="connsiteX5" fmla="*/ 6206591 w 6433168"/>
              <a:gd name="connsiteY5" fmla="*/ 396510 h 2500439"/>
              <a:gd name="connsiteX6" fmla="*/ 6198499 w 6433168"/>
              <a:gd name="connsiteY6" fmla="*/ 420786 h 2500439"/>
              <a:gd name="connsiteX7" fmla="*/ 6174223 w 6433168"/>
              <a:gd name="connsiteY7" fmla="*/ 445062 h 2500439"/>
              <a:gd name="connsiteX8" fmla="*/ 6166131 w 6433168"/>
              <a:gd name="connsiteY8" fmla="*/ 469338 h 2500439"/>
              <a:gd name="connsiteX9" fmla="*/ 6117578 w 6433168"/>
              <a:gd name="connsiteY9" fmla="*/ 525982 h 2500439"/>
              <a:gd name="connsiteX10" fmla="*/ 6069026 w 6433168"/>
              <a:gd name="connsiteY10" fmla="*/ 590719 h 2500439"/>
              <a:gd name="connsiteX11" fmla="*/ 6044750 w 6433168"/>
              <a:gd name="connsiteY11" fmla="*/ 623087 h 2500439"/>
              <a:gd name="connsiteX12" fmla="*/ 5947646 w 6433168"/>
              <a:gd name="connsiteY12" fmla="*/ 720191 h 2500439"/>
              <a:gd name="connsiteX13" fmla="*/ 5931462 w 6433168"/>
              <a:gd name="connsiteY13" fmla="*/ 744467 h 2500439"/>
              <a:gd name="connsiteX14" fmla="*/ 5882909 w 6433168"/>
              <a:gd name="connsiteY14" fmla="*/ 776835 h 2500439"/>
              <a:gd name="connsiteX15" fmla="*/ 5834357 w 6433168"/>
              <a:gd name="connsiteY15" fmla="*/ 817296 h 2500439"/>
              <a:gd name="connsiteX16" fmla="*/ 5801989 w 6433168"/>
              <a:gd name="connsiteY16" fmla="*/ 841572 h 2500439"/>
              <a:gd name="connsiteX17" fmla="*/ 5777713 w 6433168"/>
              <a:gd name="connsiteY17" fmla="*/ 849664 h 2500439"/>
              <a:gd name="connsiteX18" fmla="*/ 5753437 w 6433168"/>
              <a:gd name="connsiteY18" fmla="*/ 865848 h 2500439"/>
              <a:gd name="connsiteX19" fmla="*/ 5729161 w 6433168"/>
              <a:gd name="connsiteY19" fmla="*/ 873940 h 2500439"/>
              <a:gd name="connsiteX20" fmla="*/ 5680608 w 6433168"/>
              <a:gd name="connsiteY20" fmla="*/ 906308 h 2500439"/>
              <a:gd name="connsiteX21" fmla="*/ 5656332 w 6433168"/>
              <a:gd name="connsiteY21" fmla="*/ 914400 h 2500439"/>
              <a:gd name="connsiteX22" fmla="*/ 5583504 w 6433168"/>
              <a:gd name="connsiteY22" fmla="*/ 946768 h 2500439"/>
              <a:gd name="connsiteX23" fmla="*/ 5543044 w 6433168"/>
              <a:gd name="connsiteY23" fmla="*/ 954860 h 2500439"/>
              <a:gd name="connsiteX24" fmla="*/ 5502584 w 6433168"/>
              <a:gd name="connsiteY24" fmla="*/ 971044 h 2500439"/>
              <a:gd name="connsiteX25" fmla="*/ 5462124 w 6433168"/>
              <a:gd name="connsiteY25" fmla="*/ 979136 h 2500439"/>
              <a:gd name="connsiteX26" fmla="*/ 5405479 w 6433168"/>
              <a:gd name="connsiteY26" fmla="*/ 1003412 h 2500439"/>
              <a:gd name="connsiteX27" fmla="*/ 5365019 w 6433168"/>
              <a:gd name="connsiteY27" fmla="*/ 1011504 h 2500439"/>
              <a:gd name="connsiteX28" fmla="*/ 5308375 w 6433168"/>
              <a:gd name="connsiteY28" fmla="*/ 1027688 h 2500439"/>
              <a:gd name="connsiteX29" fmla="*/ 5235547 w 6433168"/>
              <a:gd name="connsiteY29" fmla="*/ 1035780 h 2500439"/>
              <a:gd name="connsiteX30" fmla="*/ 5186994 w 6433168"/>
              <a:gd name="connsiteY30" fmla="*/ 1043872 h 2500439"/>
              <a:gd name="connsiteX31" fmla="*/ 5041338 w 6433168"/>
              <a:gd name="connsiteY31" fmla="*/ 1051965 h 2500439"/>
              <a:gd name="connsiteX32" fmla="*/ 4936141 w 6433168"/>
              <a:gd name="connsiteY32" fmla="*/ 1060057 h 2500439"/>
              <a:gd name="connsiteX33" fmla="*/ 4636736 w 6433168"/>
              <a:gd name="connsiteY33" fmla="*/ 1076241 h 2500439"/>
              <a:gd name="connsiteX34" fmla="*/ 4555816 w 6433168"/>
              <a:gd name="connsiteY34" fmla="*/ 1084333 h 2500439"/>
              <a:gd name="connsiteX35" fmla="*/ 4515355 w 6433168"/>
              <a:gd name="connsiteY35" fmla="*/ 1092425 h 2500439"/>
              <a:gd name="connsiteX36" fmla="*/ 4434435 w 6433168"/>
              <a:gd name="connsiteY36" fmla="*/ 1100517 h 2500439"/>
              <a:gd name="connsiteX37" fmla="*/ 4321147 w 6433168"/>
              <a:gd name="connsiteY37" fmla="*/ 1116701 h 2500439"/>
              <a:gd name="connsiteX38" fmla="*/ 3722336 w 6433168"/>
              <a:gd name="connsiteY38" fmla="*/ 1108609 h 2500439"/>
              <a:gd name="connsiteX39" fmla="*/ 3520035 w 6433168"/>
              <a:gd name="connsiteY39" fmla="*/ 1092425 h 2500439"/>
              <a:gd name="connsiteX40" fmla="*/ 3382470 w 6433168"/>
              <a:gd name="connsiteY40" fmla="*/ 1084333 h 2500439"/>
              <a:gd name="connsiteX41" fmla="*/ 3285366 w 6433168"/>
              <a:gd name="connsiteY41" fmla="*/ 1076241 h 2500439"/>
              <a:gd name="connsiteX42" fmla="*/ 3050697 w 6433168"/>
              <a:gd name="connsiteY42" fmla="*/ 1068149 h 2500439"/>
              <a:gd name="connsiteX43" fmla="*/ 2217217 w 6433168"/>
              <a:gd name="connsiteY43" fmla="*/ 1051965 h 2500439"/>
              <a:gd name="connsiteX44" fmla="*/ 1747879 w 6433168"/>
              <a:gd name="connsiteY44" fmla="*/ 1060057 h 2500439"/>
              <a:gd name="connsiteX45" fmla="*/ 1464658 w 6433168"/>
              <a:gd name="connsiteY45" fmla="*/ 1084333 h 2500439"/>
              <a:gd name="connsiteX46" fmla="*/ 1383738 w 6433168"/>
              <a:gd name="connsiteY46" fmla="*/ 1092425 h 2500439"/>
              <a:gd name="connsiteX47" fmla="*/ 1335185 w 6433168"/>
              <a:gd name="connsiteY47" fmla="*/ 1100517 h 2500439"/>
              <a:gd name="connsiteX48" fmla="*/ 1181437 w 6433168"/>
              <a:gd name="connsiteY48" fmla="*/ 1124793 h 2500439"/>
              <a:gd name="connsiteX49" fmla="*/ 971044 w 6433168"/>
              <a:gd name="connsiteY49" fmla="*/ 1165253 h 2500439"/>
              <a:gd name="connsiteX50" fmla="*/ 930584 w 6433168"/>
              <a:gd name="connsiteY50" fmla="*/ 1181437 h 2500439"/>
              <a:gd name="connsiteX51" fmla="*/ 857755 w 6433168"/>
              <a:gd name="connsiteY51" fmla="*/ 1197621 h 2500439"/>
              <a:gd name="connsiteX52" fmla="*/ 784927 w 6433168"/>
              <a:gd name="connsiteY52" fmla="*/ 1221897 h 2500439"/>
              <a:gd name="connsiteX53" fmla="*/ 744467 w 6433168"/>
              <a:gd name="connsiteY53" fmla="*/ 1238081 h 2500439"/>
              <a:gd name="connsiteX54" fmla="*/ 720191 w 6433168"/>
              <a:gd name="connsiteY54" fmla="*/ 1246173 h 2500439"/>
              <a:gd name="connsiteX55" fmla="*/ 655454 w 6433168"/>
              <a:gd name="connsiteY55" fmla="*/ 1270449 h 2500439"/>
              <a:gd name="connsiteX56" fmla="*/ 598810 w 6433168"/>
              <a:gd name="connsiteY56" fmla="*/ 1294726 h 2500439"/>
              <a:gd name="connsiteX57" fmla="*/ 574534 w 6433168"/>
              <a:gd name="connsiteY57" fmla="*/ 1302818 h 2500439"/>
              <a:gd name="connsiteX58" fmla="*/ 469338 w 6433168"/>
              <a:gd name="connsiteY58" fmla="*/ 1359462 h 2500439"/>
              <a:gd name="connsiteX59" fmla="*/ 445062 w 6433168"/>
              <a:gd name="connsiteY59" fmla="*/ 1367554 h 2500439"/>
              <a:gd name="connsiteX60" fmla="*/ 388417 w 6433168"/>
              <a:gd name="connsiteY60" fmla="*/ 1399922 h 2500439"/>
              <a:gd name="connsiteX61" fmla="*/ 364141 w 6433168"/>
              <a:gd name="connsiteY61" fmla="*/ 1408014 h 2500439"/>
              <a:gd name="connsiteX62" fmla="*/ 283221 w 6433168"/>
              <a:gd name="connsiteY62" fmla="*/ 1456566 h 2500439"/>
              <a:gd name="connsiteX63" fmla="*/ 267037 w 6433168"/>
              <a:gd name="connsiteY63" fmla="*/ 1480842 h 2500439"/>
              <a:gd name="connsiteX64" fmla="*/ 129472 w 6433168"/>
              <a:gd name="connsiteY64" fmla="*/ 1594131 h 2500439"/>
              <a:gd name="connsiteX65" fmla="*/ 105196 w 6433168"/>
              <a:gd name="connsiteY65" fmla="*/ 1634591 h 2500439"/>
              <a:gd name="connsiteX66" fmla="*/ 56644 w 6433168"/>
              <a:gd name="connsiteY66" fmla="*/ 1707419 h 2500439"/>
              <a:gd name="connsiteX67" fmla="*/ 48552 w 6433168"/>
              <a:gd name="connsiteY67" fmla="*/ 1731696 h 2500439"/>
              <a:gd name="connsiteX68" fmla="*/ 32368 w 6433168"/>
              <a:gd name="connsiteY68" fmla="*/ 1755972 h 2500439"/>
              <a:gd name="connsiteX69" fmla="*/ 16184 w 6433168"/>
              <a:gd name="connsiteY69" fmla="*/ 1796432 h 2500439"/>
              <a:gd name="connsiteX70" fmla="*/ 0 w 6433168"/>
              <a:gd name="connsiteY70" fmla="*/ 1861168 h 2500439"/>
              <a:gd name="connsiteX71" fmla="*/ 8092 w 6433168"/>
              <a:gd name="connsiteY71" fmla="*/ 1990641 h 2500439"/>
              <a:gd name="connsiteX72" fmla="*/ 24276 w 6433168"/>
              <a:gd name="connsiteY72" fmla="*/ 2014917 h 2500439"/>
              <a:gd name="connsiteX73" fmla="*/ 32368 w 6433168"/>
              <a:gd name="connsiteY73" fmla="*/ 2039193 h 2500439"/>
              <a:gd name="connsiteX74" fmla="*/ 48552 w 6433168"/>
              <a:gd name="connsiteY74" fmla="*/ 2063469 h 2500439"/>
              <a:gd name="connsiteX75" fmla="*/ 72828 w 6433168"/>
              <a:gd name="connsiteY75" fmla="*/ 2103929 h 2500439"/>
              <a:gd name="connsiteX76" fmla="*/ 97104 w 6433168"/>
              <a:gd name="connsiteY76" fmla="*/ 2152481 h 2500439"/>
              <a:gd name="connsiteX77" fmla="*/ 129472 w 6433168"/>
              <a:gd name="connsiteY77" fmla="*/ 2217218 h 2500439"/>
              <a:gd name="connsiteX78" fmla="*/ 153748 w 6433168"/>
              <a:gd name="connsiteY78" fmla="*/ 2281954 h 2500439"/>
              <a:gd name="connsiteX79" fmla="*/ 210393 w 6433168"/>
              <a:gd name="connsiteY79" fmla="*/ 2370966 h 2500439"/>
              <a:gd name="connsiteX80" fmla="*/ 234669 w 6433168"/>
              <a:gd name="connsiteY80" fmla="*/ 2395242 h 2500439"/>
              <a:gd name="connsiteX81" fmla="*/ 283221 w 6433168"/>
              <a:gd name="connsiteY81" fmla="*/ 2443795 h 2500439"/>
              <a:gd name="connsiteX82" fmla="*/ 291313 w 6433168"/>
              <a:gd name="connsiteY82" fmla="*/ 2468071 h 2500439"/>
              <a:gd name="connsiteX83" fmla="*/ 323681 w 6433168"/>
              <a:gd name="connsiteY83" fmla="*/ 2500439 h 250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6433168" h="2500439">
                <a:moveTo>
                  <a:pt x="6433168" y="0"/>
                </a:moveTo>
                <a:cubicBezTo>
                  <a:pt x="6417201" y="79833"/>
                  <a:pt x="6434725" y="13071"/>
                  <a:pt x="6376524" y="129472"/>
                </a:cubicBezTo>
                <a:cubicBezTo>
                  <a:pt x="6356981" y="168558"/>
                  <a:pt x="6385077" y="142652"/>
                  <a:pt x="6344155" y="169933"/>
                </a:cubicBezTo>
                <a:cubicBezTo>
                  <a:pt x="6330234" y="204736"/>
                  <a:pt x="6323277" y="225376"/>
                  <a:pt x="6303695" y="258945"/>
                </a:cubicBezTo>
                <a:cubicBezTo>
                  <a:pt x="6286261" y="288832"/>
                  <a:pt x="6267455" y="312659"/>
                  <a:pt x="6247051" y="339865"/>
                </a:cubicBezTo>
                <a:cubicBezTo>
                  <a:pt x="6228768" y="394717"/>
                  <a:pt x="6254590" y="329312"/>
                  <a:pt x="6206591" y="396510"/>
                </a:cubicBezTo>
                <a:cubicBezTo>
                  <a:pt x="6201633" y="403451"/>
                  <a:pt x="6203230" y="413689"/>
                  <a:pt x="6198499" y="420786"/>
                </a:cubicBezTo>
                <a:cubicBezTo>
                  <a:pt x="6192151" y="430308"/>
                  <a:pt x="6182315" y="436970"/>
                  <a:pt x="6174223" y="445062"/>
                </a:cubicBezTo>
                <a:cubicBezTo>
                  <a:pt x="6171526" y="453154"/>
                  <a:pt x="6170363" y="461932"/>
                  <a:pt x="6166131" y="469338"/>
                </a:cubicBezTo>
                <a:cubicBezTo>
                  <a:pt x="6152291" y="493558"/>
                  <a:pt x="6136709" y="506851"/>
                  <a:pt x="6117578" y="525982"/>
                </a:cubicBezTo>
                <a:cubicBezTo>
                  <a:pt x="6102069" y="572510"/>
                  <a:pt x="6118617" y="534929"/>
                  <a:pt x="6069026" y="590719"/>
                </a:cubicBezTo>
                <a:cubicBezTo>
                  <a:pt x="6060066" y="600799"/>
                  <a:pt x="6053974" y="613248"/>
                  <a:pt x="6044750" y="623087"/>
                </a:cubicBezTo>
                <a:cubicBezTo>
                  <a:pt x="6013442" y="656482"/>
                  <a:pt x="5973038" y="682104"/>
                  <a:pt x="5947646" y="720191"/>
                </a:cubicBezTo>
                <a:cubicBezTo>
                  <a:pt x="5942251" y="728283"/>
                  <a:pt x="5938781" y="738063"/>
                  <a:pt x="5931462" y="744467"/>
                </a:cubicBezTo>
                <a:cubicBezTo>
                  <a:pt x="5916824" y="757275"/>
                  <a:pt x="5882909" y="776835"/>
                  <a:pt x="5882909" y="776835"/>
                </a:cubicBezTo>
                <a:cubicBezTo>
                  <a:pt x="5855304" y="818242"/>
                  <a:pt x="5881290" y="787962"/>
                  <a:pt x="5834357" y="817296"/>
                </a:cubicBezTo>
                <a:cubicBezTo>
                  <a:pt x="5822920" y="824444"/>
                  <a:pt x="5813699" y="834881"/>
                  <a:pt x="5801989" y="841572"/>
                </a:cubicBezTo>
                <a:cubicBezTo>
                  <a:pt x="5794583" y="845804"/>
                  <a:pt x="5785342" y="845849"/>
                  <a:pt x="5777713" y="849664"/>
                </a:cubicBezTo>
                <a:cubicBezTo>
                  <a:pt x="5769014" y="854013"/>
                  <a:pt x="5762136" y="861499"/>
                  <a:pt x="5753437" y="865848"/>
                </a:cubicBezTo>
                <a:cubicBezTo>
                  <a:pt x="5745808" y="869663"/>
                  <a:pt x="5736617" y="869798"/>
                  <a:pt x="5729161" y="873940"/>
                </a:cubicBezTo>
                <a:cubicBezTo>
                  <a:pt x="5712158" y="883386"/>
                  <a:pt x="5699061" y="900157"/>
                  <a:pt x="5680608" y="906308"/>
                </a:cubicBezTo>
                <a:cubicBezTo>
                  <a:pt x="5672516" y="909005"/>
                  <a:pt x="5664172" y="911040"/>
                  <a:pt x="5656332" y="914400"/>
                </a:cubicBezTo>
                <a:cubicBezTo>
                  <a:pt x="5619140" y="930340"/>
                  <a:pt x="5625329" y="934221"/>
                  <a:pt x="5583504" y="946768"/>
                </a:cubicBezTo>
                <a:cubicBezTo>
                  <a:pt x="5570330" y="950720"/>
                  <a:pt x="5556218" y="950908"/>
                  <a:pt x="5543044" y="954860"/>
                </a:cubicBezTo>
                <a:cubicBezTo>
                  <a:pt x="5529131" y="959034"/>
                  <a:pt x="5516497" y="966870"/>
                  <a:pt x="5502584" y="971044"/>
                </a:cubicBezTo>
                <a:cubicBezTo>
                  <a:pt x="5489410" y="974996"/>
                  <a:pt x="5475467" y="975800"/>
                  <a:pt x="5462124" y="979136"/>
                </a:cubicBezTo>
                <a:cubicBezTo>
                  <a:pt x="5405554" y="993278"/>
                  <a:pt x="5474961" y="980251"/>
                  <a:pt x="5405479" y="1003412"/>
                </a:cubicBezTo>
                <a:cubicBezTo>
                  <a:pt x="5392431" y="1007761"/>
                  <a:pt x="5378362" y="1008168"/>
                  <a:pt x="5365019" y="1011504"/>
                </a:cubicBezTo>
                <a:cubicBezTo>
                  <a:pt x="5331181" y="1019964"/>
                  <a:pt x="5347729" y="1021634"/>
                  <a:pt x="5308375" y="1027688"/>
                </a:cubicBezTo>
                <a:cubicBezTo>
                  <a:pt x="5284234" y="1031402"/>
                  <a:pt x="5259758" y="1032552"/>
                  <a:pt x="5235547" y="1035780"/>
                </a:cubicBezTo>
                <a:cubicBezTo>
                  <a:pt x="5219283" y="1037948"/>
                  <a:pt x="5203345" y="1042509"/>
                  <a:pt x="5186994" y="1043872"/>
                </a:cubicBezTo>
                <a:cubicBezTo>
                  <a:pt x="5138535" y="1047910"/>
                  <a:pt x="5089864" y="1048834"/>
                  <a:pt x="5041338" y="1051965"/>
                </a:cubicBezTo>
                <a:cubicBezTo>
                  <a:pt x="5006242" y="1054229"/>
                  <a:pt x="4971178" y="1057010"/>
                  <a:pt x="4936141" y="1060057"/>
                </a:cubicBezTo>
                <a:cubicBezTo>
                  <a:pt x="4742611" y="1076886"/>
                  <a:pt x="4990099" y="1063154"/>
                  <a:pt x="4636736" y="1076241"/>
                </a:cubicBezTo>
                <a:cubicBezTo>
                  <a:pt x="4609763" y="1078938"/>
                  <a:pt x="4582686" y="1080750"/>
                  <a:pt x="4555816" y="1084333"/>
                </a:cubicBezTo>
                <a:cubicBezTo>
                  <a:pt x="4542183" y="1086151"/>
                  <a:pt x="4528988" y="1090607"/>
                  <a:pt x="4515355" y="1092425"/>
                </a:cubicBezTo>
                <a:cubicBezTo>
                  <a:pt x="4488485" y="1096008"/>
                  <a:pt x="4461408" y="1097820"/>
                  <a:pt x="4434435" y="1100517"/>
                </a:cubicBezTo>
                <a:cubicBezTo>
                  <a:pt x="4390864" y="1111410"/>
                  <a:pt x="4376339" y="1116701"/>
                  <a:pt x="4321147" y="1116701"/>
                </a:cubicBezTo>
                <a:cubicBezTo>
                  <a:pt x="4121525" y="1116701"/>
                  <a:pt x="3921940" y="1111306"/>
                  <a:pt x="3722336" y="1108609"/>
                </a:cubicBezTo>
                <a:cubicBezTo>
                  <a:pt x="3627669" y="1089676"/>
                  <a:pt x="3700490" y="1102179"/>
                  <a:pt x="3520035" y="1092425"/>
                </a:cubicBezTo>
                <a:lnTo>
                  <a:pt x="3382470" y="1084333"/>
                </a:lnTo>
                <a:cubicBezTo>
                  <a:pt x="3350067" y="1082098"/>
                  <a:pt x="3317808" y="1077824"/>
                  <a:pt x="3285366" y="1076241"/>
                </a:cubicBezTo>
                <a:cubicBezTo>
                  <a:pt x="3207189" y="1072428"/>
                  <a:pt x="3128946" y="1069927"/>
                  <a:pt x="3050697" y="1068149"/>
                </a:cubicBezTo>
                <a:lnTo>
                  <a:pt x="2217217" y="1051965"/>
                </a:lnTo>
                <a:lnTo>
                  <a:pt x="1747879" y="1060057"/>
                </a:lnTo>
                <a:cubicBezTo>
                  <a:pt x="1667316" y="1062264"/>
                  <a:pt x="1539947" y="1076804"/>
                  <a:pt x="1464658" y="1084333"/>
                </a:cubicBezTo>
                <a:cubicBezTo>
                  <a:pt x="1437685" y="1087030"/>
                  <a:pt x="1410477" y="1087969"/>
                  <a:pt x="1383738" y="1092425"/>
                </a:cubicBezTo>
                <a:lnTo>
                  <a:pt x="1335185" y="1100517"/>
                </a:lnTo>
                <a:cubicBezTo>
                  <a:pt x="1273496" y="1110007"/>
                  <a:pt x="1250145" y="1111051"/>
                  <a:pt x="1181437" y="1124793"/>
                </a:cubicBezTo>
                <a:cubicBezTo>
                  <a:pt x="1003507" y="1160379"/>
                  <a:pt x="1073863" y="1148117"/>
                  <a:pt x="971044" y="1165253"/>
                </a:cubicBezTo>
                <a:cubicBezTo>
                  <a:pt x="957557" y="1170648"/>
                  <a:pt x="944364" y="1176844"/>
                  <a:pt x="930584" y="1181437"/>
                </a:cubicBezTo>
                <a:cubicBezTo>
                  <a:pt x="890103" y="1194931"/>
                  <a:pt x="902652" y="1184793"/>
                  <a:pt x="857755" y="1197621"/>
                </a:cubicBezTo>
                <a:cubicBezTo>
                  <a:pt x="833150" y="1204651"/>
                  <a:pt x="808686" y="1212393"/>
                  <a:pt x="784927" y="1221897"/>
                </a:cubicBezTo>
                <a:cubicBezTo>
                  <a:pt x="771440" y="1227292"/>
                  <a:pt x="758068" y="1232981"/>
                  <a:pt x="744467" y="1238081"/>
                </a:cubicBezTo>
                <a:cubicBezTo>
                  <a:pt x="736480" y="1241076"/>
                  <a:pt x="728207" y="1243258"/>
                  <a:pt x="720191" y="1246173"/>
                </a:cubicBezTo>
                <a:cubicBezTo>
                  <a:pt x="698532" y="1254049"/>
                  <a:pt x="676852" y="1261890"/>
                  <a:pt x="655454" y="1270449"/>
                </a:cubicBezTo>
                <a:cubicBezTo>
                  <a:pt x="636381" y="1278078"/>
                  <a:pt x="617883" y="1287097"/>
                  <a:pt x="598810" y="1294726"/>
                </a:cubicBezTo>
                <a:cubicBezTo>
                  <a:pt x="590890" y="1297894"/>
                  <a:pt x="582374" y="1299458"/>
                  <a:pt x="574534" y="1302818"/>
                </a:cubicBezTo>
                <a:cubicBezTo>
                  <a:pt x="546367" y="1314890"/>
                  <a:pt x="485856" y="1351203"/>
                  <a:pt x="469338" y="1359462"/>
                </a:cubicBezTo>
                <a:cubicBezTo>
                  <a:pt x="461709" y="1363277"/>
                  <a:pt x="452902" y="1364194"/>
                  <a:pt x="445062" y="1367554"/>
                </a:cubicBezTo>
                <a:cubicBezTo>
                  <a:pt x="345754" y="1410114"/>
                  <a:pt x="469684" y="1359289"/>
                  <a:pt x="388417" y="1399922"/>
                </a:cubicBezTo>
                <a:cubicBezTo>
                  <a:pt x="380788" y="1403737"/>
                  <a:pt x="371981" y="1404654"/>
                  <a:pt x="364141" y="1408014"/>
                </a:cubicBezTo>
                <a:cubicBezTo>
                  <a:pt x="329305" y="1422944"/>
                  <a:pt x="317737" y="1433556"/>
                  <a:pt x="283221" y="1456566"/>
                </a:cubicBezTo>
                <a:cubicBezTo>
                  <a:pt x="277826" y="1464658"/>
                  <a:pt x="274132" y="1474190"/>
                  <a:pt x="267037" y="1480842"/>
                </a:cubicBezTo>
                <a:cubicBezTo>
                  <a:pt x="182168" y="1560407"/>
                  <a:pt x="188131" y="1555025"/>
                  <a:pt x="129472" y="1594131"/>
                </a:cubicBezTo>
                <a:cubicBezTo>
                  <a:pt x="121380" y="1607618"/>
                  <a:pt x="113920" y="1621504"/>
                  <a:pt x="105196" y="1634591"/>
                </a:cubicBezTo>
                <a:cubicBezTo>
                  <a:pt x="78091" y="1675248"/>
                  <a:pt x="80153" y="1660401"/>
                  <a:pt x="56644" y="1707419"/>
                </a:cubicBezTo>
                <a:cubicBezTo>
                  <a:pt x="52829" y="1715049"/>
                  <a:pt x="52367" y="1724066"/>
                  <a:pt x="48552" y="1731696"/>
                </a:cubicBezTo>
                <a:cubicBezTo>
                  <a:pt x="44203" y="1740395"/>
                  <a:pt x="36717" y="1747273"/>
                  <a:pt x="32368" y="1755972"/>
                </a:cubicBezTo>
                <a:cubicBezTo>
                  <a:pt x="25872" y="1768964"/>
                  <a:pt x="20456" y="1782549"/>
                  <a:pt x="16184" y="1796432"/>
                </a:cubicBezTo>
                <a:cubicBezTo>
                  <a:pt x="9643" y="1817691"/>
                  <a:pt x="0" y="1861168"/>
                  <a:pt x="0" y="1861168"/>
                </a:cubicBezTo>
                <a:cubicBezTo>
                  <a:pt x="2697" y="1904326"/>
                  <a:pt x="1348" y="1947928"/>
                  <a:pt x="8092" y="1990641"/>
                </a:cubicBezTo>
                <a:cubicBezTo>
                  <a:pt x="9609" y="2000247"/>
                  <a:pt x="19927" y="2006218"/>
                  <a:pt x="24276" y="2014917"/>
                </a:cubicBezTo>
                <a:cubicBezTo>
                  <a:pt x="28091" y="2022546"/>
                  <a:pt x="28553" y="2031564"/>
                  <a:pt x="32368" y="2039193"/>
                </a:cubicBezTo>
                <a:cubicBezTo>
                  <a:pt x="36717" y="2047892"/>
                  <a:pt x="43398" y="2055222"/>
                  <a:pt x="48552" y="2063469"/>
                </a:cubicBezTo>
                <a:cubicBezTo>
                  <a:pt x="56888" y="2076806"/>
                  <a:pt x="65794" y="2089861"/>
                  <a:pt x="72828" y="2103929"/>
                </a:cubicBezTo>
                <a:cubicBezTo>
                  <a:pt x="106330" y="2170934"/>
                  <a:pt x="50723" y="2082909"/>
                  <a:pt x="97104" y="2152481"/>
                </a:cubicBezTo>
                <a:cubicBezTo>
                  <a:pt x="113880" y="2219586"/>
                  <a:pt x="91959" y="2149693"/>
                  <a:pt x="129472" y="2217218"/>
                </a:cubicBezTo>
                <a:cubicBezTo>
                  <a:pt x="189112" y="2324571"/>
                  <a:pt x="117405" y="2209267"/>
                  <a:pt x="153748" y="2281954"/>
                </a:cubicBezTo>
                <a:cubicBezTo>
                  <a:pt x="159991" y="2294440"/>
                  <a:pt x="203977" y="2364550"/>
                  <a:pt x="210393" y="2370966"/>
                </a:cubicBezTo>
                <a:cubicBezTo>
                  <a:pt x="218485" y="2379058"/>
                  <a:pt x="227222" y="2386553"/>
                  <a:pt x="234669" y="2395242"/>
                </a:cubicBezTo>
                <a:cubicBezTo>
                  <a:pt x="274818" y="2442083"/>
                  <a:pt x="240485" y="2415304"/>
                  <a:pt x="283221" y="2443795"/>
                </a:cubicBezTo>
                <a:cubicBezTo>
                  <a:pt x="285918" y="2451887"/>
                  <a:pt x="285985" y="2461410"/>
                  <a:pt x="291313" y="2468071"/>
                </a:cubicBezTo>
                <a:cubicBezTo>
                  <a:pt x="343392" y="2533170"/>
                  <a:pt x="297109" y="2447296"/>
                  <a:pt x="323681" y="2500439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8" name="Freihandform 7"/>
          <p:cNvSpPr/>
          <p:nvPr/>
        </p:nvSpPr>
        <p:spPr bwMode="auto">
          <a:xfrm>
            <a:off x="906308" y="3074973"/>
            <a:ext cx="1723611" cy="347958"/>
          </a:xfrm>
          <a:custGeom>
            <a:avLst/>
            <a:gdLst>
              <a:gd name="connsiteX0" fmla="*/ 0 w 1723611"/>
              <a:gd name="connsiteY0" fmla="*/ 323682 h 347958"/>
              <a:gd name="connsiteX1" fmla="*/ 396510 w 1723611"/>
              <a:gd name="connsiteY1" fmla="*/ 339866 h 347958"/>
              <a:gd name="connsiteX2" fmla="*/ 647363 w 1723611"/>
              <a:gd name="connsiteY2" fmla="*/ 347958 h 347958"/>
              <a:gd name="connsiteX3" fmla="*/ 1505119 w 1723611"/>
              <a:gd name="connsiteY3" fmla="*/ 339866 h 347958"/>
              <a:gd name="connsiteX4" fmla="*/ 1610315 w 1723611"/>
              <a:gd name="connsiteY4" fmla="*/ 315590 h 347958"/>
              <a:gd name="connsiteX5" fmla="*/ 1634591 w 1723611"/>
              <a:gd name="connsiteY5" fmla="*/ 299406 h 347958"/>
              <a:gd name="connsiteX6" fmla="*/ 1650775 w 1723611"/>
              <a:gd name="connsiteY6" fmla="*/ 275130 h 347958"/>
              <a:gd name="connsiteX7" fmla="*/ 1675051 w 1723611"/>
              <a:gd name="connsiteY7" fmla="*/ 258946 h 347958"/>
              <a:gd name="connsiteX8" fmla="*/ 1683143 w 1723611"/>
              <a:gd name="connsiteY8" fmla="*/ 234669 h 347958"/>
              <a:gd name="connsiteX9" fmla="*/ 1707419 w 1723611"/>
              <a:gd name="connsiteY9" fmla="*/ 210393 h 347958"/>
              <a:gd name="connsiteX10" fmla="*/ 1715511 w 1723611"/>
              <a:gd name="connsiteY10" fmla="*/ 186117 h 347958"/>
              <a:gd name="connsiteX11" fmla="*/ 1723604 w 1723611"/>
              <a:gd name="connsiteY11" fmla="*/ 0 h 347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23611" h="347958">
                <a:moveTo>
                  <a:pt x="0" y="323682"/>
                </a:moveTo>
                <a:cubicBezTo>
                  <a:pt x="164382" y="351079"/>
                  <a:pt x="22309" y="329753"/>
                  <a:pt x="396510" y="339866"/>
                </a:cubicBezTo>
                <a:lnTo>
                  <a:pt x="647363" y="347958"/>
                </a:lnTo>
                <a:lnTo>
                  <a:pt x="1505119" y="339866"/>
                </a:lnTo>
                <a:cubicBezTo>
                  <a:pt x="1526197" y="339493"/>
                  <a:pt x="1590585" y="328744"/>
                  <a:pt x="1610315" y="315590"/>
                </a:cubicBezTo>
                <a:lnTo>
                  <a:pt x="1634591" y="299406"/>
                </a:lnTo>
                <a:cubicBezTo>
                  <a:pt x="1639986" y="291314"/>
                  <a:pt x="1643898" y="282007"/>
                  <a:pt x="1650775" y="275130"/>
                </a:cubicBezTo>
                <a:cubicBezTo>
                  <a:pt x="1657652" y="268253"/>
                  <a:pt x="1668976" y="266540"/>
                  <a:pt x="1675051" y="258946"/>
                </a:cubicBezTo>
                <a:cubicBezTo>
                  <a:pt x="1680380" y="252285"/>
                  <a:pt x="1678411" y="241766"/>
                  <a:pt x="1683143" y="234669"/>
                </a:cubicBezTo>
                <a:cubicBezTo>
                  <a:pt x="1689491" y="225147"/>
                  <a:pt x="1699327" y="218485"/>
                  <a:pt x="1707419" y="210393"/>
                </a:cubicBezTo>
                <a:cubicBezTo>
                  <a:pt x="1710116" y="202301"/>
                  <a:pt x="1714739" y="194612"/>
                  <a:pt x="1715511" y="186117"/>
                </a:cubicBezTo>
                <a:cubicBezTo>
                  <a:pt x="1724171" y="90861"/>
                  <a:pt x="1723604" y="69126"/>
                  <a:pt x="1723604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9" name="Freihandform 8"/>
          <p:cNvSpPr/>
          <p:nvPr/>
        </p:nvSpPr>
        <p:spPr bwMode="auto">
          <a:xfrm>
            <a:off x="2387129" y="3005044"/>
            <a:ext cx="2544911" cy="3016244"/>
          </a:xfrm>
          <a:custGeom>
            <a:avLst/>
            <a:gdLst>
              <a:gd name="connsiteX0" fmla="*/ 412715 w 2710853"/>
              <a:gd name="connsiteY0" fmla="*/ 0 h 2896949"/>
              <a:gd name="connsiteX1" fmla="*/ 453175 w 2710853"/>
              <a:gd name="connsiteY1" fmla="*/ 24276 h 2896949"/>
              <a:gd name="connsiteX2" fmla="*/ 477452 w 2710853"/>
              <a:gd name="connsiteY2" fmla="*/ 48552 h 2896949"/>
              <a:gd name="connsiteX3" fmla="*/ 639292 w 2710853"/>
              <a:gd name="connsiteY3" fmla="*/ 226577 h 2896949"/>
              <a:gd name="connsiteX4" fmla="*/ 631200 w 2710853"/>
              <a:gd name="connsiteY4" fmla="*/ 445062 h 2896949"/>
              <a:gd name="connsiteX5" fmla="*/ 590740 w 2710853"/>
              <a:gd name="connsiteY5" fmla="*/ 582627 h 2896949"/>
              <a:gd name="connsiteX6" fmla="*/ 582648 w 2710853"/>
              <a:gd name="connsiteY6" fmla="*/ 614995 h 2896949"/>
              <a:gd name="connsiteX7" fmla="*/ 550280 w 2710853"/>
              <a:gd name="connsiteY7" fmla="*/ 671639 h 2896949"/>
              <a:gd name="connsiteX8" fmla="*/ 534096 w 2710853"/>
              <a:gd name="connsiteY8" fmla="*/ 704007 h 2896949"/>
              <a:gd name="connsiteX9" fmla="*/ 477452 w 2710853"/>
              <a:gd name="connsiteY9" fmla="*/ 793019 h 2896949"/>
              <a:gd name="connsiteX10" fmla="*/ 445083 w 2710853"/>
              <a:gd name="connsiteY10" fmla="*/ 833480 h 2896949"/>
              <a:gd name="connsiteX11" fmla="*/ 388439 w 2710853"/>
              <a:gd name="connsiteY11" fmla="*/ 914400 h 2896949"/>
              <a:gd name="connsiteX12" fmla="*/ 356071 w 2710853"/>
              <a:gd name="connsiteY12" fmla="*/ 971044 h 2896949"/>
              <a:gd name="connsiteX13" fmla="*/ 315611 w 2710853"/>
              <a:gd name="connsiteY13" fmla="*/ 1043873 h 2896949"/>
              <a:gd name="connsiteX14" fmla="*/ 283243 w 2710853"/>
              <a:gd name="connsiteY14" fmla="*/ 1092425 h 2896949"/>
              <a:gd name="connsiteX15" fmla="*/ 267059 w 2710853"/>
              <a:gd name="connsiteY15" fmla="*/ 1124793 h 2896949"/>
              <a:gd name="connsiteX16" fmla="*/ 258967 w 2710853"/>
              <a:gd name="connsiteY16" fmla="*/ 1149069 h 2896949"/>
              <a:gd name="connsiteX17" fmla="*/ 226598 w 2710853"/>
              <a:gd name="connsiteY17" fmla="*/ 1197621 h 2896949"/>
              <a:gd name="connsiteX18" fmla="*/ 218506 w 2710853"/>
              <a:gd name="connsiteY18" fmla="*/ 1229989 h 2896949"/>
              <a:gd name="connsiteX19" fmla="*/ 169954 w 2710853"/>
              <a:gd name="connsiteY19" fmla="*/ 1294726 h 2896949"/>
              <a:gd name="connsiteX20" fmla="*/ 121402 w 2710853"/>
              <a:gd name="connsiteY20" fmla="*/ 1359462 h 2896949"/>
              <a:gd name="connsiteX21" fmla="*/ 113310 w 2710853"/>
              <a:gd name="connsiteY21" fmla="*/ 1391830 h 2896949"/>
              <a:gd name="connsiteX22" fmla="*/ 97126 w 2710853"/>
              <a:gd name="connsiteY22" fmla="*/ 1416106 h 2896949"/>
              <a:gd name="connsiteX23" fmla="*/ 48574 w 2710853"/>
              <a:gd name="connsiteY23" fmla="*/ 1480842 h 2896949"/>
              <a:gd name="connsiteX24" fmla="*/ 16206 w 2710853"/>
              <a:gd name="connsiteY24" fmla="*/ 1553671 h 2896949"/>
              <a:gd name="connsiteX25" fmla="*/ 8113 w 2710853"/>
              <a:gd name="connsiteY25" fmla="*/ 1602223 h 2896949"/>
              <a:gd name="connsiteX26" fmla="*/ 21 w 2710853"/>
              <a:gd name="connsiteY26" fmla="*/ 1626499 h 2896949"/>
              <a:gd name="connsiteX27" fmla="*/ 24298 w 2710853"/>
              <a:gd name="connsiteY27" fmla="*/ 1788340 h 2896949"/>
              <a:gd name="connsiteX28" fmla="*/ 32390 w 2710853"/>
              <a:gd name="connsiteY28" fmla="*/ 1844984 h 2896949"/>
              <a:gd name="connsiteX29" fmla="*/ 40482 w 2710853"/>
              <a:gd name="connsiteY29" fmla="*/ 1869260 h 2896949"/>
              <a:gd name="connsiteX30" fmla="*/ 48574 w 2710853"/>
              <a:gd name="connsiteY30" fmla="*/ 1901628 h 2896949"/>
              <a:gd name="connsiteX31" fmla="*/ 56666 w 2710853"/>
              <a:gd name="connsiteY31" fmla="*/ 1958273 h 2896949"/>
              <a:gd name="connsiteX32" fmla="*/ 80942 w 2710853"/>
              <a:gd name="connsiteY32" fmla="*/ 2031101 h 2896949"/>
              <a:gd name="connsiteX33" fmla="*/ 105218 w 2710853"/>
              <a:gd name="connsiteY33" fmla="*/ 2112021 h 2896949"/>
              <a:gd name="connsiteX34" fmla="*/ 121402 w 2710853"/>
              <a:gd name="connsiteY34" fmla="*/ 2136297 h 2896949"/>
              <a:gd name="connsiteX35" fmla="*/ 153770 w 2710853"/>
              <a:gd name="connsiteY35" fmla="*/ 2192942 h 2896949"/>
              <a:gd name="connsiteX36" fmla="*/ 161862 w 2710853"/>
              <a:gd name="connsiteY36" fmla="*/ 2225310 h 2896949"/>
              <a:gd name="connsiteX37" fmla="*/ 218506 w 2710853"/>
              <a:gd name="connsiteY37" fmla="*/ 2298138 h 2896949"/>
              <a:gd name="connsiteX38" fmla="*/ 234690 w 2710853"/>
              <a:gd name="connsiteY38" fmla="*/ 2322414 h 2896949"/>
              <a:gd name="connsiteX39" fmla="*/ 258967 w 2710853"/>
              <a:gd name="connsiteY39" fmla="*/ 2346690 h 2896949"/>
              <a:gd name="connsiteX40" fmla="*/ 291335 w 2710853"/>
              <a:gd name="connsiteY40" fmla="*/ 2395242 h 2896949"/>
              <a:gd name="connsiteX41" fmla="*/ 307519 w 2710853"/>
              <a:gd name="connsiteY41" fmla="*/ 2411427 h 2896949"/>
              <a:gd name="connsiteX42" fmla="*/ 323703 w 2710853"/>
              <a:gd name="connsiteY42" fmla="*/ 2435703 h 2896949"/>
              <a:gd name="connsiteX43" fmla="*/ 356071 w 2710853"/>
              <a:gd name="connsiteY43" fmla="*/ 2443795 h 2896949"/>
              <a:gd name="connsiteX44" fmla="*/ 380347 w 2710853"/>
              <a:gd name="connsiteY44" fmla="*/ 2459979 h 2896949"/>
              <a:gd name="connsiteX45" fmla="*/ 436991 w 2710853"/>
              <a:gd name="connsiteY45" fmla="*/ 2492347 h 2896949"/>
              <a:gd name="connsiteX46" fmla="*/ 485544 w 2710853"/>
              <a:gd name="connsiteY46" fmla="*/ 2524715 h 2896949"/>
              <a:gd name="connsiteX47" fmla="*/ 509820 w 2710853"/>
              <a:gd name="connsiteY47" fmla="*/ 2540899 h 2896949"/>
              <a:gd name="connsiteX48" fmla="*/ 542188 w 2710853"/>
              <a:gd name="connsiteY48" fmla="*/ 2557083 h 2896949"/>
              <a:gd name="connsiteX49" fmla="*/ 574556 w 2710853"/>
              <a:gd name="connsiteY49" fmla="*/ 2581359 h 2896949"/>
              <a:gd name="connsiteX50" fmla="*/ 606924 w 2710853"/>
              <a:gd name="connsiteY50" fmla="*/ 2597543 h 2896949"/>
              <a:gd name="connsiteX51" fmla="*/ 631200 w 2710853"/>
              <a:gd name="connsiteY51" fmla="*/ 2613727 h 2896949"/>
              <a:gd name="connsiteX52" fmla="*/ 663568 w 2710853"/>
              <a:gd name="connsiteY52" fmla="*/ 2621819 h 2896949"/>
              <a:gd name="connsiteX53" fmla="*/ 679752 w 2710853"/>
              <a:gd name="connsiteY53" fmla="*/ 2638004 h 2896949"/>
              <a:gd name="connsiteX54" fmla="*/ 736397 w 2710853"/>
              <a:gd name="connsiteY54" fmla="*/ 2654188 h 2896949"/>
              <a:gd name="connsiteX55" fmla="*/ 793041 w 2710853"/>
              <a:gd name="connsiteY55" fmla="*/ 2686556 h 2896949"/>
              <a:gd name="connsiteX56" fmla="*/ 817317 w 2710853"/>
              <a:gd name="connsiteY56" fmla="*/ 2702740 h 2896949"/>
              <a:gd name="connsiteX57" fmla="*/ 865869 w 2710853"/>
              <a:gd name="connsiteY57" fmla="*/ 2718924 h 2896949"/>
              <a:gd name="connsiteX58" fmla="*/ 890145 w 2710853"/>
              <a:gd name="connsiteY58" fmla="*/ 2727016 h 2896949"/>
              <a:gd name="connsiteX59" fmla="*/ 914421 w 2710853"/>
              <a:gd name="connsiteY59" fmla="*/ 2735108 h 2896949"/>
              <a:gd name="connsiteX60" fmla="*/ 979158 w 2710853"/>
              <a:gd name="connsiteY60" fmla="*/ 2751292 h 2896949"/>
              <a:gd name="connsiteX61" fmla="*/ 1035802 w 2710853"/>
              <a:gd name="connsiteY61" fmla="*/ 2767476 h 2896949"/>
              <a:gd name="connsiteX62" fmla="*/ 1084354 w 2710853"/>
              <a:gd name="connsiteY62" fmla="*/ 2783660 h 2896949"/>
              <a:gd name="connsiteX63" fmla="*/ 1108630 w 2710853"/>
              <a:gd name="connsiteY63" fmla="*/ 2791752 h 2896949"/>
              <a:gd name="connsiteX64" fmla="*/ 1149090 w 2710853"/>
              <a:gd name="connsiteY64" fmla="*/ 2799844 h 2896949"/>
              <a:gd name="connsiteX65" fmla="*/ 1173367 w 2710853"/>
              <a:gd name="connsiteY65" fmla="*/ 2807936 h 2896949"/>
              <a:gd name="connsiteX66" fmla="*/ 1310931 w 2710853"/>
              <a:gd name="connsiteY66" fmla="*/ 2824120 h 2896949"/>
              <a:gd name="connsiteX67" fmla="*/ 1351391 w 2710853"/>
              <a:gd name="connsiteY67" fmla="*/ 2832212 h 2896949"/>
              <a:gd name="connsiteX68" fmla="*/ 1424220 w 2710853"/>
              <a:gd name="connsiteY68" fmla="*/ 2848396 h 2896949"/>
              <a:gd name="connsiteX69" fmla="*/ 1521324 w 2710853"/>
              <a:gd name="connsiteY69" fmla="*/ 2856488 h 2896949"/>
              <a:gd name="connsiteX70" fmla="*/ 1545600 w 2710853"/>
              <a:gd name="connsiteY70" fmla="*/ 2864581 h 2896949"/>
              <a:gd name="connsiteX71" fmla="*/ 1828821 w 2710853"/>
              <a:gd name="connsiteY71" fmla="*/ 2880765 h 2896949"/>
              <a:gd name="connsiteX72" fmla="*/ 1942110 w 2710853"/>
              <a:gd name="connsiteY72" fmla="*/ 2888857 h 2896949"/>
              <a:gd name="connsiteX73" fmla="*/ 1998754 w 2710853"/>
              <a:gd name="connsiteY73" fmla="*/ 2896949 h 2896949"/>
              <a:gd name="connsiteX74" fmla="*/ 2710853 w 2710853"/>
              <a:gd name="connsiteY74" fmla="*/ 2888857 h 2896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2710853" h="2896949">
                <a:moveTo>
                  <a:pt x="412715" y="0"/>
                </a:moveTo>
                <a:cubicBezTo>
                  <a:pt x="426202" y="8092"/>
                  <a:pt x="440593" y="14839"/>
                  <a:pt x="453175" y="24276"/>
                </a:cubicBezTo>
                <a:cubicBezTo>
                  <a:pt x="462330" y="31142"/>
                  <a:pt x="469704" y="40130"/>
                  <a:pt x="477452" y="48552"/>
                </a:cubicBezTo>
                <a:cubicBezTo>
                  <a:pt x="531750" y="107572"/>
                  <a:pt x="585345" y="167235"/>
                  <a:pt x="639292" y="226577"/>
                </a:cubicBezTo>
                <a:cubicBezTo>
                  <a:pt x="636595" y="299405"/>
                  <a:pt x="638636" y="372564"/>
                  <a:pt x="631200" y="445062"/>
                </a:cubicBezTo>
                <a:cubicBezTo>
                  <a:pt x="622220" y="532615"/>
                  <a:pt x="611121" y="521482"/>
                  <a:pt x="590740" y="582627"/>
                </a:cubicBezTo>
                <a:cubicBezTo>
                  <a:pt x="587223" y="593178"/>
                  <a:pt x="586553" y="604582"/>
                  <a:pt x="582648" y="614995"/>
                </a:cubicBezTo>
                <a:cubicBezTo>
                  <a:pt x="569310" y="650563"/>
                  <a:pt x="567354" y="641759"/>
                  <a:pt x="550280" y="671639"/>
                </a:cubicBezTo>
                <a:cubicBezTo>
                  <a:pt x="544295" y="682112"/>
                  <a:pt x="539954" y="693462"/>
                  <a:pt x="534096" y="704007"/>
                </a:cubicBezTo>
                <a:cubicBezTo>
                  <a:pt x="523227" y="723571"/>
                  <a:pt x="489588" y="777850"/>
                  <a:pt x="477452" y="793019"/>
                </a:cubicBezTo>
                <a:cubicBezTo>
                  <a:pt x="466662" y="806506"/>
                  <a:pt x="454988" y="819330"/>
                  <a:pt x="445083" y="833480"/>
                </a:cubicBezTo>
                <a:cubicBezTo>
                  <a:pt x="367702" y="944024"/>
                  <a:pt x="479191" y="800960"/>
                  <a:pt x="388439" y="914400"/>
                </a:cubicBezTo>
                <a:cubicBezTo>
                  <a:pt x="374017" y="957667"/>
                  <a:pt x="388731" y="922054"/>
                  <a:pt x="356071" y="971044"/>
                </a:cubicBezTo>
                <a:cubicBezTo>
                  <a:pt x="295525" y="1061864"/>
                  <a:pt x="361887" y="966745"/>
                  <a:pt x="315611" y="1043873"/>
                </a:cubicBezTo>
                <a:cubicBezTo>
                  <a:pt x="305604" y="1060552"/>
                  <a:pt x="291942" y="1075028"/>
                  <a:pt x="283243" y="1092425"/>
                </a:cubicBezTo>
                <a:cubicBezTo>
                  <a:pt x="277848" y="1103214"/>
                  <a:pt x="271811" y="1113705"/>
                  <a:pt x="267059" y="1124793"/>
                </a:cubicBezTo>
                <a:cubicBezTo>
                  <a:pt x="263699" y="1132633"/>
                  <a:pt x="263109" y="1141613"/>
                  <a:pt x="258967" y="1149069"/>
                </a:cubicBezTo>
                <a:cubicBezTo>
                  <a:pt x="249521" y="1166072"/>
                  <a:pt x="226598" y="1197621"/>
                  <a:pt x="226598" y="1197621"/>
                </a:cubicBezTo>
                <a:cubicBezTo>
                  <a:pt x="223901" y="1208410"/>
                  <a:pt x="224110" y="1220383"/>
                  <a:pt x="218506" y="1229989"/>
                </a:cubicBezTo>
                <a:cubicBezTo>
                  <a:pt x="204915" y="1253288"/>
                  <a:pt x="184916" y="1272283"/>
                  <a:pt x="169954" y="1294726"/>
                </a:cubicBezTo>
                <a:cubicBezTo>
                  <a:pt x="144190" y="1333373"/>
                  <a:pt x="159845" y="1311408"/>
                  <a:pt x="121402" y="1359462"/>
                </a:cubicBezTo>
                <a:cubicBezTo>
                  <a:pt x="118705" y="1370251"/>
                  <a:pt x="117691" y="1381608"/>
                  <a:pt x="113310" y="1391830"/>
                </a:cubicBezTo>
                <a:cubicBezTo>
                  <a:pt x="109479" y="1400769"/>
                  <a:pt x="102280" y="1407859"/>
                  <a:pt x="97126" y="1416106"/>
                </a:cubicBezTo>
                <a:cubicBezTo>
                  <a:pt x="63611" y="1469731"/>
                  <a:pt x="86410" y="1443006"/>
                  <a:pt x="48574" y="1480842"/>
                </a:cubicBezTo>
                <a:cubicBezTo>
                  <a:pt x="29315" y="1538621"/>
                  <a:pt x="41853" y="1515200"/>
                  <a:pt x="16206" y="1553671"/>
                </a:cubicBezTo>
                <a:cubicBezTo>
                  <a:pt x="13508" y="1569855"/>
                  <a:pt x="11672" y="1586206"/>
                  <a:pt x="8113" y="1602223"/>
                </a:cubicBezTo>
                <a:cubicBezTo>
                  <a:pt x="6263" y="1610550"/>
                  <a:pt x="-427" y="1617981"/>
                  <a:pt x="21" y="1626499"/>
                </a:cubicBezTo>
                <a:cubicBezTo>
                  <a:pt x="11375" y="1842200"/>
                  <a:pt x="7245" y="1694550"/>
                  <a:pt x="24298" y="1788340"/>
                </a:cubicBezTo>
                <a:cubicBezTo>
                  <a:pt x="27710" y="1807105"/>
                  <a:pt x="28649" y="1826281"/>
                  <a:pt x="32390" y="1844984"/>
                </a:cubicBezTo>
                <a:cubicBezTo>
                  <a:pt x="34063" y="1853348"/>
                  <a:pt x="38139" y="1861058"/>
                  <a:pt x="40482" y="1869260"/>
                </a:cubicBezTo>
                <a:cubicBezTo>
                  <a:pt x="43537" y="1879953"/>
                  <a:pt x="46585" y="1890686"/>
                  <a:pt x="48574" y="1901628"/>
                </a:cubicBezTo>
                <a:cubicBezTo>
                  <a:pt x="51986" y="1920394"/>
                  <a:pt x="52040" y="1939769"/>
                  <a:pt x="56666" y="1958273"/>
                </a:cubicBezTo>
                <a:cubicBezTo>
                  <a:pt x="62872" y="1983098"/>
                  <a:pt x="74736" y="2006276"/>
                  <a:pt x="80942" y="2031101"/>
                </a:cubicBezTo>
                <a:cubicBezTo>
                  <a:pt x="87667" y="2058002"/>
                  <a:pt x="93960" y="2086691"/>
                  <a:pt x="105218" y="2112021"/>
                </a:cubicBezTo>
                <a:cubicBezTo>
                  <a:pt x="109168" y="2120908"/>
                  <a:pt x="117053" y="2127598"/>
                  <a:pt x="121402" y="2136297"/>
                </a:cubicBezTo>
                <a:cubicBezTo>
                  <a:pt x="152296" y="2198084"/>
                  <a:pt x="95067" y="2114669"/>
                  <a:pt x="153770" y="2192942"/>
                </a:cubicBezTo>
                <a:cubicBezTo>
                  <a:pt x="156467" y="2203731"/>
                  <a:pt x="156888" y="2215363"/>
                  <a:pt x="161862" y="2225310"/>
                </a:cubicBezTo>
                <a:cubicBezTo>
                  <a:pt x="192540" y="2286666"/>
                  <a:pt x="185205" y="2258177"/>
                  <a:pt x="218506" y="2298138"/>
                </a:cubicBezTo>
                <a:cubicBezTo>
                  <a:pt x="224732" y="2305609"/>
                  <a:pt x="228464" y="2314943"/>
                  <a:pt x="234690" y="2322414"/>
                </a:cubicBezTo>
                <a:cubicBezTo>
                  <a:pt x="242016" y="2331205"/>
                  <a:pt x="251941" y="2337657"/>
                  <a:pt x="258967" y="2346690"/>
                </a:cubicBezTo>
                <a:cubicBezTo>
                  <a:pt x="270909" y="2362043"/>
                  <a:pt x="277582" y="2381488"/>
                  <a:pt x="291335" y="2395242"/>
                </a:cubicBezTo>
                <a:cubicBezTo>
                  <a:pt x="296730" y="2400637"/>
                  <a:pt x="302753" y="2405469"/>
                  <a:pt x="307519" y="2411427"/>
                </a:cubicBezTo>
                <a:cubicBezTo>
                  <a:pt x="313594" y="2419021"/>
                  <a:pt x="315611" y="2430308"/>
                  <a:pt x="323703" y="2435703"/>
                </a:cubicBezTo>
                <a:cubicBezTo>
                  <a:pt x="332957" y="2441872"/>
                  <a:pt x="345282" y="2441098"/>
                  <a:pt x="356071" y="2443795"/>
                </a:cubicBezTo>
                <a:cubicBezTo>
                  <a:pt x="364163" y="2449190"/>
                  <a:pt x="371903" y="2455154"/>
                  <a:pt x="380347" y="2459979"/>
                </a:cubicBezTo>
                <a:cubicBezTo>
                  <a:pt x="405530" y="2474369"/>
                  <a:pt x="415484" y="2474424"/>
                  <a:pt x="436991" y="2492347"/>
                </a:cubicBezTo>
                <a:cubicBezTo>
                  <a:pt x="477401" y="2526022"/>
                  <a:pt x="442880" y="2510494"/>
                  <a:pt x="485544" y="2524715"/>
                </a:cubicBezTo>
                <a:cubicBezTo>
                  <a:pt x="493636" y="2530110"/>
                  <a:pt x="501376" y="2536074"/>
                  <a:pt x="509820" y="2540899"/>
                </a:cubicBezTo>
                <a:cubicBezTo>
                  <a:pt x="520293" y="2546884"/>
                  <a:pt x="531959" y="2550690"/>
                  <a:pt x="542188" y="2557083"/>
                </a:cubicBezTo>
                <a:cubicBezTo>
                  <a:pt x="553625" y="2564231"/>
                  <a:pt x="563119" y="2574211"/>
                  <a:pt x="574556" y="2581359"/>
                </a:cubicBezTo>
                <a:cubicBezTo>
                  <a:pt x="584785" y="2587752"/>
                  <a:pt x="596451" y="2591558"/>
                  <a:pt x="606924" y="2597543"/>
                </a:cubicBezTo>
                <a:cubicBezTo>
                  <a:pt x="615368" y="2602368"/>
                  <a:pt x="622261" y="2609896"/>
                  <a:pt x="631200" y="2613727"/>
                </a:cubicBezTo>
                <a:cubicBezTo>
                  <a:pt x="641422" y="2618108"/>
                  <a:pt x="652779" y="2619122"/>
                  <a:pt x="663568" y="2621819"/>
                </a:cubicBezTo>
                <a:cubicBezTo>
                  <a:pt x="668963" y="2627214"/>
                  <a:pt x="673210" y="2634079"/>
                  <a:pt x="679752" y="2638004"/>
                </a:cubicBezTo>
                <a:cubicBezTo>
                  <a:pt x="688043" y="2642979"/>
                  <a:pt x="730352" y="2652677"/>
                  <a:pt x="736397" y="2654188"/>
                </a:cubicBezTo>
                <a:cubicBezTo>
                  <a:pt x="795542" y="2693618"/>
                  <a:pt x="721174" y="2645489"/>
                  <a:pt x="793041" y="2686556"/>
                </a:cubicBezTo>
                <a:cubicBezTo>
                  <a:pt x="801485" y="2691381"/>
                  <a:pt x="808430" y="2698790"/>
                  <a:pt x="817317" y="2702740"/>
                </a:cubicBezTo>
                <a:cubicBezTo>
                  <a:pt x="832906" y="2709668"/>
                  <a:pt x="849685" y="2713529"/>
                  <a:pt x="865869" y="2718924"/>
                </a:cubicBezTo>
                <a:lnTo>
                  <a:pt x="890145" y="2727016"/>
                </a:lnTo>
                <a:cubicBezTo>
                  <a:pt x="898237" y="2729713"/>
                  <a:pt x="906146" y="2733039"/>
                  <a:pt x="914421" y="2735108"/>
                </a:cubicBezTo>
                <a:cubicBezTo>
                  <a:pt x="936000" y="2740503"/>
                  <a:pt x="958056" y="2744258"/>
                  <a:pt x="979158" y="2751292"/>
                </a:cubicBezTo>
                <a:cubicBezTo>
                  <a:pt x="1060742" y="2778487"/>
                  <a:pt x="934194" y="2736994"/>
                  <a:pt x="1035802" y="2767476"/>
                </a:cubicBezTo>
                <a:cubicBezTo>
                  <a:pt x="1052142" y="2772378"/>
                  <a:pt x="1068170" y="2778265"/>
                  <a:pt x="1084354" y="2783660"/>
                </a:cubicBezTo>
                <a:cubicBezTo>
                  <a:pt x="1092446" y="2786357"/>
                  <a:pt x="1100266" y="2790079"/>
                  <a:pt x="1108630" y="2791752"/>
                </a:cubicBezTo>
                <a:cubicBezTo>
                  <a:pt x="1122117" y="2794449"/>
                  <a:pt x="1135747" y="2796508"/>
                  <a:pt x="1149090" y="2799844"/>
                </a:cubicBezTo>
                <a:cubicBezTo>
                  <a:pt x="1157365" y="2801913"/>
                  <a:pt x="1164923" y="2806730"/>
                  <a:pt x="1173367" y="2807936"/>
                </a:cubicBezTo>
                <a:cubicBezTo>
                  <a:pt x="1364144" y="2835190"/>
                  <a:pt x="1185947" y="2801396"/>
                  <a:pt x="1310931" y="2824120"/>
                </a:cubicBezTo>
                <a:cubicBezTo>
                  <a:pt x="1324463" y="2826580"/>
                  <a:pt x="1337965" y="2829228"/>
                  <a:pt x="1351391" y="2832212"/>
                </a:cubicBezTo>
                <a:cubicBezTo>
                  <a:pt x="1376538" y="2837800"/>
                  <a:pt x="1398286" y="2845345"/>
                  <a:pt x="1424220" y="2848396"/>
                </a:cubicBezTo>
                <a:cubicBezTo>
                  <a:pt x="1456478" y="2852191"/>
                  <a:pt x="1488956" y="2853791"/>
                  <a:pt x="1521324" y="2856488"/>
                </a:cubicBezTo>
                <a:cubicBezTo>
                  <a:pt x="1529416" y="2859186"/>
                  <a:pt x="1537325" y="2862512"/>
                  <a:pt x="1545600" y="2864581"/>
                </a:cubicBezTo>
                <a:cubicBezTo>
                  <a:pt x="1637788" y="2887629"/>
                  <a:pt x="1735171" y="2877643"/>
                  <a:pt x="1828821" y="2880765"/>
                </a:cubicBezTo>
                <a:cubicBezTo>
                  <a:pt x="1866584" y="2883462"/>
                  <a:pt x="1904421" y="2885268"/>
                  <a:pt x="1942110" y="2888857"/>
                </a:cubicBezTo>
                <a:cubicBezTo>
                  <a:pt x="1961097" y="2890665"/>
                  <a:pt x="1979681" y="2896949"/>
                  <a:pt x="1998754" y="2896949"/>
                </a:cubicBezTo>
                <a:cubicBezTo>
                  <a:pt x="2236136" y="2896949"/>
                  <a:pt x="2473471" y="2888857"/>
                  <a:pt x="2710853" y="2888857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10" name="Freihandform 9"/>
          <p:cNvSpPr/>
          <p:nvPr/>
        </p:nvSpPr>
        <p:spPr bwMode="auto">
          <a:xfrm>
            <a:off x="5103885" y="5712977"/>
            <a:ext cx="803302" cy="308311"/>
          </a:xfrm>
          <a:custGeom>
            <a:avLst/>
            <a:gdLst>
              <a:gd name="connsiteX0" fmla="*/ 0 w 623087"/>
              <a:gd name="connsiteY0" fmla="*/ 169933 h 169933"/>
              <a:gd name="connsiteX1" fmla="*/ 283221 w 623087"/>
              <a:gd name="connsiteY1" fmla="*/ 161841 h 169933"/>
              <a:gd name="connsiteX2" fmla="*/ 372234 w 623087"/>
              <a:gd name="connsiteY2" fmla="*/ 145657 h 169933"/>
              <a:gd name="connsiteX3" fmla="*/ 445062 w 623087"/>
              <a:gd name="connsiteY3" fmla="*/ 121381 h 169933"/>
              <a:gd name="connsiteX4" fmla="*/ 469338 w 623087"/>
              <a:gd name="connsiteY4" fmla="*/ 113288 h 169933"/>
              <a:gd name="connsiteX5" fmla="*/ 493614 w 623087"/>
              <a:gd name="connsiteY5" fmla="*/ 97104 h 169933"/>
              <a:gd name="connsiteX6" fmla="*/ 517890 w 623087"/>
              <a:gd name="connsiteY6" fmla="*/ 89012 h 169933"/>
              <a:gd name="connsiteX7" fmla="*/ 566443 w 623087"/>
              <a:gd name="connsiteY7" fmla="*/ 56644 h 169933"/>
              <a:gd name="connsiteX8" fmla="*/ 582627 w 623087"/>
              <a:gd name="connsiteY8" fmla="*/ 32368 h 169933"/>
              <a:gd name="connsiteX9" fmla="*/ 606903 w 623087"/>
              <a:gd name="connsiteY9" fmla="*/ 16184 h 169933"/>
              <a:gd name="connsiteX10" fmla="*/ 623087 w 623087"/>
              <a:gd name="connsiteY10" fmla="*/ 0 h 169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3087" h="169933">
                <a:moveTo>
                  <a:pt x="0" y="169933"/>
                </a:moveTo>
                <a:lnTo>
                  <a:pt x="283221" y="161841"/>
                </a:lnTo>
                <a:cubicBezTo>
                  <a:pt x="308062" y="160658"/>
                  <a:pt x="346326" y="153429"/>
                  <a:pt x="372234" y="145657"/>
                </a:cubicBezTo>
                <a:cubicBezTo>
                  <a:pt x="396744" y="138304"/>
                  <a:pt x="420786" y="129473"/>
                  <a:pt x="445062" y="121381"/>
                </a:cubicBezTo>
                <a:cubicBezTo>
                  <a:pt x="453154" y="118683"/>
                  <a:pt x="462241" y="118019"/>
                  <a:pt x="469338" y="113288"/>
                </a:cubicBezTo>
                <a:cubicBezTo>
                  <a:pt x="477430" y="107893"/>
                  <a:pt x="484915" y="101453"/>
                  <a:pt x="493614" y="97104"/>
                </a:cubicBezTo>
                <a:cubicBezTo>
                  <a:pt x="501243" y="93289"/>
                  <a:pt x="510434" y="93154"/>
                  <a:pt x="517890" y="89012"/>
                </a:cubicBezTo>
                <a:cubicBezTo>
                  <a:pt x="534893" y="79566"/>
                  <a:pt x="566443" y="56644"/>
                  <a:pt x="566443" y="56644"/>
                </a:cubicBezTo>
                <a:cubicBezTo>
                  <a:pt x="571838" y="48552"/>
                  <a:pt x="575750" y="39245"/>
                  <a:pt x="582627" y="32368"/>
                </a:cubicBezTo>
                <a:cubicBezTo>
                  <a:pt x="589504" y="25491"/>
                  <a:pt x="599309" y="22259"/>
                  <a:pt x="606903" y="16184"/>
                </a:cubicBezTo>
                <a:cubicBezTo>
                  <a:pt x="612860" y="11418"/>
                  <a:pt x="617692" y="5395"/>
                  <a:pt x="623087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9573" y="3356992"/>
            <a:ext cx="6585027" cy="278552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5123" y="343903"/>
            <a:ext cx="4680520" cy="2621091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1882649" cy="523220"/>
          </a:xfrm>
        </p:spPr>
        <p:txBody>
          <a:bodyPr/>
          <a:lstStyle/>
          <a:p>
            <a:r>
              <a:rPr lang="de-DE" dirty="0" smtClean="0"/>
              <a:t>Scenario 2</a:t>
            </a:r>
            <a:endParaRPr lang="de-DE" dirty="0"/>
          </a:p>
        </p:txBody>
      </p:sp>
      <p:sp>
        <p:nvSpPr>
          <p:cNvPr id="3" name="Freihandform 2"/>
          <p:cNvSpPr/>
          <p:nvPr/>
        </p:nvSpPr>
        <p:spPr bwMode="auto">
          <a:xfrm>
            <a:off x="4922953" y="1713549"/>
            <a:ext cx="1513211" cy="760652"/>
          </a:xfrm>
          <a:custGeom>
            <a:avLst/>
            <a:gdLst>
              <a:gd name="connsiteX0" fmla="*/ 0 w 1513211"/>
              <a:gd name="connsiteY0" fmla="*/ 744468 h 760652"/>
              <a:gd name="connsiteX1" fmla="*/ 380326 w 1513211"/>
              <a:gd name="connsiteY1" fmla="*/ 760652 h 760652"/>
              <a:gd name="connsiteX2" fmla="*/ 695915 w 1513211"/>
              <a:gd name="connsiteY2" fmla="*/ 752560 h 760652"/>
              <a:gd name="connsiteX3" fmla="*/ 720191 w 1513211"/>
              <a:gd name="connsiteY3" fmla="*/ 744468 h 760652"/>
              <a:gd name="connsiteX4" fmla="*/ 768744 w 1513211"/>
              <a:gd name="connsiteY4" fmla="*/ 712099 h 760652"/>
              <a:gd name="connsiteX5" fmla="*/ 793020 w 1513211"/>
              <a:gd name="connsiteY5" fmla="*/ 695915 h 760652"/>
              <a:gd name="connsiteX6" fmla="*/ 865848 w 1513211"/>
              <a:gd name="connsiteY6" fmla="*/ 623087 h 760652"/>
              <a:gd name="connsiteX7" fmla="*/ 890124 w 1513211"/>
              <a:gd name="connsiteY7" fmla="*/ 598811 h 760652"/>
              <a:gd name="connsiteX8" fmla="*/ 906308 w 1513211"/>
              <a:gd name="connsiteY8" fmla="*/ 574535 h 760652"/>
              <a:gd name="connsiteX9" fmla="*/ 930584 w 1513211"/>
              <a:gd name="connsiteY9" fmla="*/ 566443 h 760652"/>
              <a:gd name="connsiteX10" fmla="*/ 962952 w 1513211"/>
              <a:gd name="connsiteY10" fmla="*/ 517891 h 760652"/>
              <a:gd name="connsiteX11" fmla="*/ 1011505 w 1513211"/>
              <a:gd name="connsiteY11" fmla="*/ 445062 h 760652"/>
              <a:gd name="connsiteX12" fmla="*/ 1027689 w 1513211"/>
              <a:gd name="connsiteY12" fmla="*/ 420786 h 760652"/>
              <a:gd name="connsiteX13" fmla="*/ 1051965 w 1513211"/>
              <a:gd name="connsiteY13" fmla="*/ 404602 h 760652"/>
              <a:gd name="connsiteX14" fmla="*/ 1092425 w 1513211"/>
              <a:gd name="connsiteY14" fmla="*/ 356050 h 760652"/>
              <a:gd name="connsiteX15" fmla="*/ 1108609 w 1513211"/>
              <a:gd name="connsiteY15" fmla="*/ 331774 h 760652"/>
              <a:gd name="connsiteX16" fmla="*/ 1157161 w 1513211"/>
              <a:gd name="connsiteY16" fmla="*/ 291314 h 760652"/>
              <a:gd name="connsiteX17" fmla="*/ 1205714 w 1513211"/>
              <a:gd name="connsiteY17" fmla="*/ 226577 h 760652"/>
              <a:gd name="connsiteX18" fmla="*/ 1229990 w 1513211"/>
              <a:gd name="connsiteY18" fmla="*/ 210393 h 760652"/>
              <a:gd name="connsiteX19" fmla="*/ 1238082 w 1513211"/>
              <a:gd name="connsiteY19" fmla="*/ 186117 h 760652"/>
              <a:gd name="connsiteX20" fmla="*/ 1262358 w 1513211"/>
              <a:gd name="connsiteY20" fmla="*/ 169933 h 760652"/>
              <a:gd name="connsiteX21" fmla="*/ 1286634 w 1513211"/>
              <a:gd name="connsiteY21" fmla="*/ 145657 h 760652"/>
              <a:gd name="connsiteX22" fmla="*/ 1302818 w 1513211"/>
              <a:gd name="connsiteY22" fmla="*/ 121381 h 760652"/>
              <a:gd name="connsiteX23" fmla="*/ 1375646 w 1513211"/>
              <a:gd name="connsiteY23" fmla="*/ 56645 h 760652"/>
              <a:gd name="connsiteX24" fmla="*/ 1391830 w 1513211"/>
              <a:gd name="connsiteY24" fmla="*/ 40460 h 760652"/>
              <a:gd name="connsiteX25" fmla="*/ 1440383 w 1513211"/>
              <a:gd name="connsiteY25" fmla="*/ 24276 h 760652"/>
              <a:gd name="connsiteX26" fmla="*/ 1464659 w 1513211"/>
              <a:gd name="connsiteY26" fmla="*/ 16184 h 760652"/>
              <a:gd name="connsiteX27" fmla="*/ 1488935 w 1513211"/>
              <a:gd name="connsiteY27" fmla="*/ 8092 h 760652"/>
              <a:gd name="connsiteX28" fmla="*/ 1513211 w 1513211"/>
              <a:gd name="connsiteY28" fmla="*/ 0 h 760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513211" h="760652">
                <a:moveTo>
                  <a:pt x="0" y="744468"/>
                </a:moveTo>
                <a:lnTo>
                  <a:pt x="380326" y="760652"/>
                </a:lnTo>
                <a:cubicBezTo>
                  <a:pt x="485557" y="760652"/>
                  <a:pt x="590719" y="755257"/>
                  <a:pt x="695915" y="752560"/>
                </a:cubicBezTo>
                <a:cubicBezTo>
                  <a:pt x="704007" y="749863"/>
                  <a:pt x="712735" y="748610"/>
                  <a:pt x="720191" y="744468"/>
                </a:cubicBezTo>
                <a:cubicBezTo>
                  <a:pt x="737194" y="735022"/>
                  <a:pt x="752560" y="722889"/>
                  <a:pt x="768744" y="712099"/>
                </a:cubicBezTo>
                <a:cubicBezTo>
                  <a:pt x="776836" y="706704"/>
                  <a:pt x="786143" y="702792"/>
                  <a:pt x="793020" y="695915"/>
                </a:cubicBezTo>
                <a:lnTo>
                  <a:pt x="865848" y="623087"/>
                </a:lnTo>
                <a:cubicBezTo>
                  <a:pt x="873940" y="614995"/>
                  <a:pt x="883776" y="608333"/>
                  <a:pt x="890124" y="598811"/>
                </a:cubicBezTo>
                <a:cubicBezTo>
                  <a:pt x="895519" y="590719"/>
                  <a:pt x="898714" y="580610"/>
                  <a:pt x="906308" y="574535"/>
                </a:cubicBezTo>
                <a:cubicBezTo>
                  <a:pt x="912969" y="569207"/>
                  <a:pt x="922492" y="569140"/>
                  <a:pt x="930584" y="566443"/>
                </a:cubicBezTo>
                <a:cubicBezTo>
                  <a:pt x="946060" y="520016"/>
                  <a:pt x="927593" y="563352"/>
                  <a:pt x="962952" y="517891"/>
                </a:cubicBezTo>
                <a:cubicBezTo>
                  <a:pt x="962955" y="517888"/>
                  <a:pt x="1003411" y="457202"/>
                  <a:pt x="1011505" y="445062"/>
                </a:cubicBezTo>
                <a:cubicBezTo>
                  <a:pt x="1016900" y="436970"/>
                  <a:pt x="1019597" y="426181"/>
                  <a:pt x="1027689" y="420786"/>
                </a:cubicBezTo>
                <a:lnTo>
                  <a:pt x="1051965" y="404602"/>
                </a:lnTo>
                <a:cubicBezTo>
                  <a:pt x="1092147" y="344329"/>
                  <a:pt x="1040504" y="418356"/>
                  <a:pt x="1092425" y="356050"/>
                </a:cubicBezTo>
                <a:cubicBezTo>
                  <a:pt x="1098651" y="348579"/>
                  <a:pt x="1102383" y="339245"/>
                  <a:pt x="1108609" y="331774"/>
                </a:cubicBezTo>
                <a:cubicBezTo>
                  <a:pt x="1128080" y="308409"/>
                  <a:pt x="1133291" y="307227"/>
                  <a:pt x="1157161" y="291314"/>
                </a:cubicBezTo>
                <a:cubicBezTo>
                  <a:pt x="1171959" y="269117"/>
                  <a:pt x="1184326" y="243687"/>
                  <a:pt x="1205714" y="226577"/>
                </a:cubicBezTo>
                <a:cubicBezTo>
                  <a:pt x="1213308" y="220502"/>
                  <a:pt x="1221898" y="215788"/>
                  <a:pt x="1229990" y="210393"/>
                </a:cubicBezTo>
                <a:cubicBezTo>
                  <a:pt x="1232687" y="202301"/>
                  <a:pt x="1232754" y="192778"/>
                  <a:pt x="1238082" y="186117"/>
                </a:cubicBezTo>
                <a:cubicBezTo>
                  <a:pt x="1244157" y="178523"/>
                  <a:pt x="1254887" y="176159"/>
                  <a:pt x="1262358" y="169933"/>
                </a:cubicBezTo>
                <a:cubicBezTo>
                  <a:pt x="1271149" y="162607"/>
                  <a:pt x="1279308" y="154448"/>
                  <a:pt x="1286634" y="145657"/>
                </a:cubicBezTo>
                <a:cubicBezTo>
                  <a:pt x="1292860" y="138186"/>
                  <a:pt x="1296357" y="128650"/>
                  <a:pt x="1302818" y="121381"/>
                </a:cubicBezTo>
                <a:cubicBezTo>
                  <a:pt x="1378762" y="35944"/>
                  <a:pt x="1323609" y="98276"/>
                  <a:pt x="1375646" y="56645"/>
                </a:cubicBezTo>
                <a:cubicBezTo>
                  <a:pt x="1381604" y="51879"/>
                  <a:pt x="1385006" y="43872"/>
                  <a:pt x="1391830" y="40460"/>
                </a:cubicBezTo>
                <a:cubicBezTo>
                  <a:pt x="1407089" y="32831"/>
                  <a:pt x="1424199" y="29671"/>
                  <a:pt x="1440383" y="24276"/>
                </a:cubicBezTo>
                <a:lnTo>
                  <a:pt x="1464659" y="16184"/>
                </a:lnTo>
                <a:lnTo>
                  <a:pt x="1488935" y="8092"/>
                </a:lnTo>
                <a:lnTo>
                  <a:pt x="1513211" y="0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6" name="Freihandform 5"/>
          <p:cNvSpPr/>
          <p:nvPr/>
        </p:nvSpPr>
        <p:spPr bwMode="auto">
          <a:xfrm>
            <a:off x="6743661" y="1786379"/>
            <a:ext cx="564643" cy="2866757"/>
          </a:xfrm>
          <a:custGeom>
            <a:avLst/>
            <a:gdLst>
              <a:gd name="connsiteX0" fmla="*/ 0 w 712099"/>
              <a:gd name="connsiteY0" fmla="*/ 0 h 4580139"/>
              <a:gd name="connsiteX1" fmla="*/ 48552 w 712099"/>
              <a:gd name="connsiteY1" fmla="*/ 64736 h 4580139"/>
              <a:gd name="connsiteX2" fmla="*/ 97105 w 712099"/>
              <a:gd name="connsiteY2" fmla="*/ 178024 h 4580139"/>
              <a:gd name="connsiteX3" fmla="*/ 113289 w 712099"/>
              <a:gd name="connsiteY3" fmla="*/ 234669 h 4580139"/>
              <a:gd name="connsiteX4" fmla="*/ 137565 w 712099"/>
              <a:gd name="connsiteY4" fmla="*/ 501706 h 4580139"/>
              <a:gd name="connsiteX5" fmla="*/ 145657 w 712099"/>
              <a:gd name="connsiteY5" fmla="*/ 671639 h 4580139"/>
              <a:gd name="connsiteX6" fmla="*/ 153749 w 712099"/>
              <a:gd name="connsiteY6" fmla="*/ 744467 h 4580139"/>
              <a:gd name="connsiteX7" fmla="*/ 161841 w 712099"/>
              <a:gd name="connsiteY7" fmla="*/ 873939 h 4580139"/>
              <a:gd name="connsiteX8" fmla="*/ 153749 w 712099"/>
              <a:gd name="connsiteY8" fmla="*/ 1213805 h 4580139"/>
              <a:gd name="connsiteX9" fmla="*/ 145657 w 712099"/>
              <a:gd name="connsiteY9" fmla="*/ 1262357 h 4580139"/>
              <a:gd name="connsiteX10" fmla="*/ 137565 w 712099"/>
              <a:gd name="connsiteY10" fmla="*/ 1343277 h 4580139"/>
              <a:gd name="connsiteX11" fmla="*/ 129473 w 712099"/>
              <a:gd name="connsiteY11" fmla="*/ 1399922 h 4580139"/>
              <a:gd name="connsiteX12" fmla="*/ 113289 w 712099"/>
              <a:gd name="connsiteY12" fmla="*/ 1505118 h 4580139"/>
              <a:gd name="connsiteX13" fmla="*/ 105197 w 712099"/>
              <a:gd name="connsiteY13" fmla="*/ 1602223 h 4580139"/>
              <a:gd name="connsiteX14" fmla="*/ 97105 w 712099"/>
              <a:gd name="connsiteY14" fmla="*/ 1634591 h 4580139"/>
              <a:gd name="connsiteX15" fmla="*/ 89013 w 712099"/>
              <a:gd name="connsiteY15" fmla="*/ 1731695 h 4580139"/>
              <a:gd name="connsiteX16" fmla="*/ 72829 w 712099"/>
              <a:gd name="connsiteY16" fmla="*/ 1933996 h 4580139"/>
              <a:gd name="connsiteX17" fmla="*/ 64736 w 712099"/>
              <a:gd name="connsiteY17" fmla="*/ 2217217 h 4580139"/>
              <a:gd name="connsiteX18" fmla="*/ 56644 w 712099"/>
              <a:gd name="connsiteY18" fmla="*/ 2257677 h 4580139"/>
              <a:gd name="connsiteX19" fmla="*/ 48552 w 712099"/>
              <a:gd name="connsiteY19" fmla="*/ 2395242 h 4580139"/>
              <a:gd name="connsiteX20" fmla="*/ 40460 w 712099"/>
              <a:gd name="connsiteY20" fmla="*/ 2435702 h 4580139"/>
              <a:gd name="connsiteX21" fmla="*/ 32368 w 712099"/>
              <a:gd name="connsiteY21" fmla="*/ 2484254 h 4580139"/>
              <a:gd name="connsiteX22" fmla="*/ 24276 w 712099"/>
              <a:gd name="connsiteY22" fmla="*/ 2589451 h 4580139"/>
              <a:gd name="connsiteX23" fmla="*/ 16184 w 712099"/>
              <a:gd name="connsiteY23" fmla="*/ 2638003 h 4580139"/>
              <a:gd name="connsiteX24" fmla="*/ 8092 w 712099"/>
              <a:gd name="connsiteY24" fmla="*/ 2799844 h 4580139"/>
              <a:gd name="connsiteX25" fmla="*/ 24276 w 712099"/>
              <a:gd name="connsiteY25" fmla="*/ 3091157 h 4580139"/>
              <a:gd name="connsiteX26" fmla="*/ 40460 w 712099"/>
              <a:gd name="connsiteY26" fmla="*/ 3180170 h 4580139"/>
              <a:gd name="connsiteX27" fmla="*/ 56644 w 712099"/>
              <a:gd name="connsiteY27" fmla="*/ 3277274 h 4580139"/>
              <a:gd name="connsiteX28" fmla="*/ 64736 w 712099"/>
              <a:gd name="connsiteY28" fmla="*/ 3309642 h 4580139"/>
              <a:gd name="connsiteX29" fmla="*/ 72829 w 712099"/>
              <a:gd name="connsiteY29" fmla="*/ 3366286 h 4580139"/>
              <a:gd name="connsiteX30" fmla="*/ 80921 w 712099"/>
              <a:gd name="connsiteY30" fmla="*/ 3406747 h 4580139"/>
              <a:gd name="connsiteX31" fmla="*/ 89013 w 712099"/>
              <a:gd name="connsiteY31" fmla="*/ 3455299 h 4580139"/>
              <a:gd name="connsiteX32" fmla="*/ 105197 w 712099"/>
              <a:gd name="connsiteY32" fmla="*/ 3503851 h 4580139"/>
              <a:gd name="connsiteX33" fmla="*/ 113289 w 712099"/>
              <a:gd name="connsiteY33" fmla="*/ 3528127 h 4580139"/>
              <a:gd name="connsiteX34" fmla="*/ 145657 w 712099"/>
              <a:gd name="connsiteY34" fmla="*/ 3592863 h 4580139"/>
              <a:gd name="connsiteX35" fmla="*/ 169933 w 712099"/>
              <a:gd name="connsiteY35" fmla="*/ 3673784 h 4580139"/>
              <a:gd name="connsiteX36" fmla="*/ 194209 w 712099"/>
              <a:gd name="connsiteY36" fmla="*/ 3722336 h 4580139"/>
              <a:gd name="connsiteX37" fmla="*/ 210393 w 712099"/>
              <a:gd name="connsiteY37" fmla="*/ 3746612 h 4580139"/>
              <a:gd name="connsiteX38" fmla="*/ 226577 w 712099"/>
              <a:gd name="connsiteY38" fmla="*/ 3795164 h 4580139"/>
              <a:gd name="connsiteX39" fmla="*/ 258945 w 712099"/>
              <a:gd name="connsiteY39" fmla="*/ 3851808 h 4580139"/>
              <a:gd name="connsiteX40" fmla="*/ 291313 w 712099"/>
              <a:gd name="connsiteY40" fmla="*/ 3900361 h 4580139"/>
              <a:gd name="connsiteX41" fmla="*/ 307498 w 712099"/>
              <a:gd name="connsiteY41" fmla="*/ 3948913 h 4580139"/>
              <a:gd name="connsiteX42" fmla="*/ 356050 w 712099"/>
              <a:gd name="connsiteY42" fmla="*/ 4021741 h 4580139"/>
              <a:gd name="connsiteX43" fmla="*/ 364142 w 712099"/>
              <a:gd name="connsiteY43" fmla="*/ 4046017 h 4580139"/>
              <a:gd name="connsiteX44" fmla="*/ 396510 w 712099"/>
              <a:gd name="connsiteY44" fmla="*/ 4094570 h 4580139"/>
              <a:gd name="connsiteX45" fmla="*/ 412694 w 712099"/>
              <a:gd name="connsiteY45" fmla="*/ 4126938 h 4580139"/>
              <a:gd name="connsiteX46" fmla="*/ 428878 w 712099"/>
              <a:gd name="connsiteY46" fmla="*/ 4151214 h 4580139"/>
              <a:gd name="connsiteX47" fmla="*/ 445062 w 712099"/>
              <a:gd name="connsiteY47" fmla="*/ 4199766 h 4580139"/>
              <a:gd name="connsiteX48" fmla="*/ 461246 w 712099"/>
              <a:gd name="connsiteY48" fmla="*/ 4224042 h 4580139"/>
              <a:gd name="connsiteX49" fmla="*/ 469338 w 712099"/>
              <a:gd name="connsiteY49" fmla="*/ 4248318 h 4580139"/>
              <a:gd name="connsiteX50" fmla="*/ 493614 w 712099"/>
              <a:gd name="connsiteY50" fmla="*/ 4272594 h 4580139"/>
              <a:gd name="connsiteX51" fmla="*/ 525982 w 712099"/>
              <a:gd name="connsiteY51" fmla="*/ 4329239 h 4580139"/>
              <a:gd name="connsiteX52" fmla="*/ 582627 w 712099"/>
              <a:gd name="connsiteY52" fmla="*/ 4393975 h 4580139"/>
              <a:gd name="connsiteX53" fmla="*/ 614995 w 712099"/>
              <a:gd name="connsiteY53" fmla="*/ 4442527 h 4580139"/>
              <a:gd name="connsiteX54" fmla="*/ 623087 w 712099"/>
              <a:gd name="connsiteY54" fmla="*/ 4466803 h 4580139"/>
              <a:gd name="connsiteX55" fmla="*/ 655455 w 712099"/>
              <a:gd name="connsiteY55" fmla="*/ 4515355 h 4580139"/>
              <a:gd name="connsiteX56" fmla="*/ 671639 w 712099"/>
              <a:gd name="connsiteY56" fmla="*/ 4539631 h 4580139"/>
              <a:gd name="connsiteX57" fmla="*/ 687823 w 712099"/>
              <a:gd name="connsiteY57" fmla="*/ 4555816 h 4580139"/>
              <a:gd name="connsiteX58" fmla="*/ 712099 w 712099"/>
              <a:gd name="connsiteY58" fmla="*/ 4580092 h 4580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712099" h="4580139">
                <a:moveTo>
                  <a:pt x="0" y="0"/>
                </a:moveTo>
                <a:cubicBezTo>
                  <a:pt x="12299" y="15374"/>
                  <a:pt x="37509" y="44492"/>
                  <a:pt x="48552" y="64736"/>
                </a:cubicBezTo>
                <a:cubicBezTo>
                  <a:pt x="82836" y="127589"/>
                  <a:pt x="77332" y="118705"/>
                  <a:pt x="97105" y="178024"/>
                </a:cubicBezTo>
                <a:cubicBezTo>
                  <a:pt x="104037" y="198821"/>
                  <a:pt x="109225" y="212318"/>
                  <a:pt x="113289" y="234669"/>
                </a:cubicBezTo>
                <a:cubicBezTo>
                  <a:pt x="127113" y="310700"/>
                  <a:pt x="135464" y="457588"/>
                  <a:pt x="137565" y="501706"/>
                </a:cubicBezTo>
                <a:cubicBezTo>
                  <a:pt x="140262" y="558350"/>
                  <a:pt x="141885" y="615056"/>
                  <a:pt x="145657" y="671639"/>
                </a:cubicBezTo>
                <a:cubicBezTo>
                  <a:pt x="147282" y="696010"/>
                  <a:pt x="151801" y="720119"/>
                  <a:pt x="153749" y="744467"/>
                </a:cubicBezTo>
                <a:cubicBezTo>
                  <a:pt x="157197" y="787571"/>
                  <a:pt x="159144" y="830782"/>
                  <a:pt x="161841" y="873939"/>
                </a:cubicBezTo>
                <a:cubicBezTo>
                  <a:pt x="159144" y="987228"/>
                  <a:pt x="158467" y="1100582"/>
                  <a:pt x="153749" y="1213805"/>
                </a:cubicBezTo>
                <a:cubicBezTo>
                  <a:pt x="153066" y="1230198"/>
                  <a:pt x="147692" y="1246076"/>
                  <a:pt x="145657" y="1262357"/>
                </a:cubicBezTo>
                <a:cubicBezTo>
                  <a:pt x="142295" y="1289256"/>
                  <a:pt x="140732" y="1316355"/>
                  <a:pt x="137565" y="1343277"/>
                </a:cubicBezTo>
                <a:cubicBezTo>
                  <a:pt x="135336" y="1362220"/>
                  <a:pt x="131994" y="1381016"/>
                  <a:pt x="129473" y="1399922"/>
                </a:cubicBezTo>
                <a:cubicBezTo>
                  <a:pt x="117716" y="1488102"/>
                  <a:pt x="126885" y="1437138"/>
                  <a:pt x="113289" y="1505118"/>
                </a:cubicBezTo>
                <a:cubicBezTo>
                  <a:pt x="110592" y="1537486"/>
                  <a:pt x="109226" y="1569993"/>
                  <a:pt x="105197" y="1602223"/>
                </a:cubicBezTo>
                <a:cubicBezTo>
                  <a:pt x="103818" y="1613259"/>
                  <a:pt x="98484" y="1623555"/>
                  <a:pt x="97105" y="1634591"/>
                </a:cubicBezTo>
                <a:cubicBezTo>
                  <a:pt x="93076" y="1666820"/>
                  <a:pt x="91104" y="1699282"/>
                  <a:pt x="89013" y="1731695"/>
                </a:cubicBezTo>
                <a:cubicBezTo>
                  <a:pt x="76760" y="1921623"/>
                  <a:pt x="90413" y="1828494"/>
                  <a:pt x="72829" y="1933996"/>
                </a:cubicBezTo>
                <a:cubicBezTo>
                  <a:pt x="70131" y="2028403"/>
                  <a:pt x="69453" y="2122889"/>
                  <a:pt x="64736" y="2217217"/>
                </a:cubicBezTo>
                <a:cubicBezTo>
                  <a:pt x="64049" y="2230954"/>
                  <a:pt x="57889" y="2243980"/>
                  <a:pt x="56644" y="2257677"/>
                </a:cubicBezTo>
                <a:cubicBezTo>
                  <a:pt x="52485" y="2303423"/>
                  <a:pt x="52711" y="2349496"/>
                  <a:pt x="48552" y="2395242"/>
                </a:cubicBezTo>
                <a:cubicBezTo>
                  <a:pt x="47307" y="2408939"/>
                  <a:pt x="42920" y="2422170"/>
                  <a:pt x="40460" y="2435702"/>
                </a:cubicBezTo>
                <a:cubicBezTo>
                  <a:pt x="37525" y="2451845"/>
                  <a:pt x="35065" y="2468070"/>
                  <a:pt x="32368" y="2484254"/>
                </a:cubicBezTo>
                <a:cubicBezTo>
                  <a:pt x="29671" y="2519320"/>
                  <a:pt x="27958" y="2554475"/>
                  <a:pt x="24276" y="2589451"/>
                </a:cubicBezTo>
                <a:cubicBezTo>
                  <a:pt x="22558" y="2605768"/>
                  <a:pt x="17442" y="2621644"/>
                  <a:pt x="16184" y="2638003"/>
                </a:cubicBezTo>
                <a:cubicBezTo>
                  <a:pt x="12041" y="2691858"/>
                  <a:pt x="10789" y="2745897"/>
                  <a:pt x="8092" y="2799844"/>
                </a:cubicBezTo>
                <a:cubicBezTo>
                  <a:pt x="9499" y="2826580"/>
                  <a:pt x="21314" y="3057098"/>
                  <a:pt x="24276" y="3091157"/>
                </a:cubicBezTo>
                <a:cubicBezTo>
                  <a:pt x="26409" y="3115689"/>
                  <a:pt x="36041" y="3155129"/>
                  <a:pt x="40460" y="3180170"/>
                </a:cubicBezTo>
                <a:cubicBezTo>
                  <a:pt x="46163" y="3212485"/>
                  <a:pt x="48685" y="3245439"/>
                  <a:pt x="56644" y="3277274"/>
                </a:cubicBezTo>
                <a:cubicBezTo>
                  <a:pt x="59341" y="3288063"/>
                  <a:pt x="62746" y="3298700"/>
                  <a:pt x="64736" y="3309642"/>
                </a:cubicBezTo>
                <a:cubicBezTo>
                  <a:pt x="68148" y="3328407"/>
                  <a:pt x="69693" y="3347472"/>
                  <a:pt x="72829" y="3366286"/>
                </a:cubicBezTo>
                <a:cubicBezTo>
                  <a:pt x="75090" y="3379853"/>
                  <a:pt x="78461" y="3393215"/>
                  <a:pt x="80921" y="3406747"/>
                </a:cubicBezTo>
                <a:cubicBezTo>
                  <a:pt x="83856" y="3422890"/>
                  <a:pt x="85034" y="3439382"/>
                  <a:pt x="89013" y="3455299"/>
                </a:cubicBezTo>
                <a:cubicBezTo>
                  <a:pt x="93151" y="3471849"/>
                  <a:pt x="99802" y="3487667"/>
                  <a:pt x="105197" y="3503851"/>
                </a:cubicBezTo>
                <a:cubicBezTo>
                  <a:pt x="107894" y="3511943"/>
                  <a:pt x="109474" y="3520498"/>
                  <a:pt x="113289" y="3528127"/>
                </a:cubicBezTo>
                <a:cubicBezTo>
                  <a:pt x="124078" y="3549706"/>
                  <a:pt x="139806" y="3569458"/>
                  <a:pt x="145657" y="3592863"/>
                </a:cubicBezTo>
                <a:cubicBezTo>
                  <a:pt x="150180" y="3610957"/>
                  <a:pt x="162053" y="3661964"/>
                  <a:pt x="169933" y="3673784"/>
                </a:cubicBezTo>
                <a:cubicBezTo>
                  <a:pt x="216314" y="3743356"/>
                  <a:pt x="160707" y="3655331"/>
                  <a:pt x="194209" y="3722336"/>
                </a:cubicBezTo>
                <a:cubicBezTo>
                  <a:pt x="198558" y="3731035"/>
                  <a:pt x="206443" y="3737725"/>
                  <a:pt x="210393" y="3746612"/>
                </a:cubicBezTo>
                <a:cubicBezTo>
                  <a:pt x="217321" y="3762201"/>
                  <a:pt x="217114" y="3780970"/>
                  <a:pt x="226577" y="3795164"/>
                </a:cubicBezTo>
                <a:cubicBezTo>
                  <a:pt x="282555" y="3879131"/>
                  <a:pt x="197353" y="3749153"/>
                  <a:pt x="258945" y="3851808"/>
                </a:cubicBezTo>
                <a:cubicBezTo>
                  <a:pt x="268952" y="3868487"/>
                  <a:pt x="285162" y="3881908"/>
                  <a:pt x="291313" y="3900361"/>
                </a:cubicBezTo>
                <a:cubicBezTo>
                  <a:pt x="296708" y="3916545"/>
                  <a:pt x="297262" y="3935265"/>
                  <a:pt x="307498" y="3948913"/>
                </a:cubicBezTo>
                <a:cubicBezTo>
                  <a:pt x="327828" y="3976019"/>
                  <a:pt x="340443" y="3990526"/>
                  <a:pt x="356050" y="4021741"/>
                </a:cubicBezTo>
                <a:cubicBezTo>
                  <a:pt x="359865" y="4029370"/>
                  <a:pt x="360000" y="4038561"/>
                  <a:pt x="364142" y="4046017"/>
                </a:cubicBezTo>
                <a:cubicBezTo>
                  <a:pt x="373588" y="4063020"/>
                  <a:pt x="387811" y="4077172"/>
                  <a:pt x="396510" y="4094570"/>
                </a:cubicBezTo>
                <a:cubicBezTo>
                  <a:pt x="401905" y="4105359"/>
                  <a:pt x="406709" y="4116465"/>
                  <a:pt x="412694" y="4126938"/>
                </a:cubicBezTo>
                <a:cubicBezTo>
                  <a:pt x="417519" y="4135382"/>
                  <a:pt x="424928" y="4142327"/>
                  <a:pt x="428878" y="4151214"/>
                </a:cubicBezTo>
                <a:cubicBezTo>
                  <a:pt x="435806" y="4166803"/>
                  <a:pt x="435599" y="4185572"/>
                  <a:pt x="445062" y="4199766"/>
                </a:cubicBezTo>
                <a:cubicBezTo>
                  <a:pt x="450457" y="4207858"/>
                  <a:pt x="456897" y="4215343"/>
                  <a:pt x="461246" y="4224042"/>
                </a:cubicBezTo>
                <a:cubicBezTo>
                  <a:pt x="465061" y="4231671"/>
                  <a:pt x="464607" y="4241221"/>
                  <a:pt x="469338" y="4248318"/>
                </a:cubicBezTo>
                <a:cubicBezTo>
                  <a:pt x="475686" y="4257840"/>
                  <a:pt x="486962" y="4263282"/>
                  <a:pt x="493614" y="4272594"/>
                </a:cubicBezTo>
                <a:cubicBezTo>
                  <a:pt x="522646" y="4313238"/>
                  <a:pt x="496255" y="4295266"/>
                  <a:pt x="525982" y="4329239"/>
                </a:cubicBezTo>
                <a:cubicBezTo>
                  <a:pt x="592258" y="4404983"/>
                  <a:pt x="546207" y="4339344"/>
                  <a:pt x="582627" y="4393975"/>
                </a:cubicBezTo>
                <a:cubicBezTo>
                  <a:pt x="601211" y="4468311"/>
                  <a:pt x="574353" y="4391725"/>
                  <a:pt x="614995" y="4442527"/>
                </a:cubicBezTo>
                <a:cubicBezTo>
                  <a:pt x="620323" y="4449188"/>
                  <a:pt x="618945" y="4459347"/>
                  <a:pt x="623087" y="4466803"/>
                </a:cubicBezTo>
                <a:cubicBezTo>
                  <a:pt x="632533" y="4483806"/>
                  <a:pt x="644666" y="4499171"/>
                  <a:pt x="655455" y="4515355"/>
                </a:cubicBezTo>
                <a:cubicBezTo>
                  <a:pt x="660850" y="4523447"/>
                  <a:pt x="664762" y="4532754"/>
                  <a:pt x="671639" y="4539631"/>
                </a:cubicBezTo>
                <a:cubicBezTo>
                  <a:pt x="677034" y="4545026"/>
                  <a:pt x="683057" y="4549858"/>
                  <a:pt x="687823" y="4555816"/>
                </a:cubicBezTo>
                <a:cubicBezTo>
                  <a:pt x="709039" y="4582336"/>
                  <a:pt x="693301" y="4580092"/>
                  <a:pt x="712099" y="4580092"/>
                </a:cubicBezTo>
              </a:path>
            </a:pathLst>
          </a:custGeom>
          <a:ln w="25400">
            <a:prstDash val="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7" name="Freihandform 6"/>
          <p:cNvSpPr/>
          <p:nvPr/>
        </p:nvSpPr>
        <p:spPr bwMode="auto">
          <a:xfrm>
            <a:off x="7452320" y="4221088"/>
            <a:ext cx="163481" cy="432048"/>
          </a:xfrm>
          <a:custGeom>
            <a:avLst/>
            <a:gdLst>
              <a:gd name="connsiteX0" fmla="*/ 0 w 299574"/>
              <a:gd name="connsiteY0" fmla="*/ 1254266 h 1254266"/>
              <a:gd name="connsiteX1" fmla="*/ 8092 w 299574"/>
              <a:gd name="connsiteY1" fmla="*/ 1035781 h 1254266"/>
              <a:gd name="connsiteX2" fmla="*/ 16184 w 299574"/>
              <a:gd name="connsiteY2" fmla="*/ 623087 h 1254266"/>
              <a:gd name="connsiteX3" fmla="*/ 40460 w 299574"/>
              <a:gd name="connsiteY3" fmla="*/ 525983 h 1254266"/>
              <a:gd name="connsiteX4" fmla="*/ 56644 w 299574"/>
              <a:gd name="connsiteY4" fmla="*/ 509798 h 1254266"/>
              <a:gd name="connsiteX5" fmla="*/ 80920 w 299574"/>
              <a:gd name="connsiteY5" fmla="*/ 461246 h 1254266"/>
              <a:gd name="connsiteX6" fmla="*/ 89012 w 299574"/>
              <a:gd name="connsiteY6" fmla="*/ 436970 h 1254266"/>
              <a:gd name="connsiteX7" fmla="*/ 121380 w 299574"/>
              <a:gd name="connsiteY7" fmla="*/ 388418 h 1254266"/>
              <a:gd name="connsiteX8" fmla="*/ 161840 w 299574"/>
              <a:gd name="connsiteY8" fmla="*/ 315590 h 1254266"/>
              <a:gd name="connsiteX9" fmla="*/ 178025 w 299574"/>
              <a:gd name="connsiteY9" fmla="*/ 283221 h 1254266"/>
              <a:gd name="connsiteX10" fmla="*/ 186117 w 299574"/>
              <a:gd name="connsiteY10" fmla="*/ 258945 h 1254266"/>
              <a:gd name="connsiteX11" fmla="*/ 202301 w 299574"/>
              <a:gd name="connsiteY11" fmla="*/ 234669 h 1254266"/>
              <a:gd name="connsiteX12" fmla="*/ 210393 w 299574"/>
              <a:gd name="connsiteY12" fmla="*/ 210393 h 1254266"/>
              <a:gd name="connsiteX13" fmla="*/ 226577 w 299574"/>
              <a:gd name="connsiteY13" fmla="*/ 186117 h 1254266"/>
              <a:gd name="connsiteX14" fmla="*/ 242761 w 299574"/>
              <a:gd name="connsiteY14" fmla="*/ 137565 h 1254266"/>
              <a:gd name="connsiteX15" fmla="*/ 250853 w 299574"/>
              <a:gd name="connsiteY15" fmla="*/ 113289 h 1254266"/>
              <a:gd name="connsiteX16" fmla="*/ 258945 w 299574"/>
              <a:gd name="connsiteY16" fmla="*/ 89013 h 1254266"/>
              <a:gd name="connsiteX17" fmla="*/ 275129 w 299574"/>
              <a:gd name="connsiteY17" fmla="*/ 64737 h 1254266"/>
              <a:gd name="connsiteX18" fmla="*/ 283221 w 299574"/>
              <a:gd name="connsiteY18" fmla="*/ 40460 h 1254266"/>
              <a:gd name="connsiteX19" fmla="*/ 299405 w 299574"/>
              <a:gd name="connsiteY19" fmla="*/ 0 h 1254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9574" h="1254266">
                <a:moveTo>
                  <a:pt x="0" y="1254266"/>
                </a:moveTo>
                <a:cubicBezTo>
                  <a:pt x="2697" y="1181438"/>
                  <a:pt x="6224" y="1108635"/>
                  <a:pt x="8092" y="1035781"/>
                </a:cubicBezTo>
                <a:cubicBezTo>
                  <a:pt x="11619" y="898235"/>
                  <a:pt x="11359" y="760593"/>
                  <a:pt x="16184" y="623087"/>
                </a:cubicBezTo>
                <a:cubicBezTo>
                  <a:pt x="16670" y="609228"/>
                  <a:pt x="29912" y="536532"/>
                  <a:pt x="40460" y="525983"/>
                </a:cubicBezTo>
                <a:lnTo>
                  <a:pt x="56644" y="509798"/>
                </a:lnTo>
                <a:cubicBezTo>
                  <a:pt x="76983" y="448780"/>
                  <a:pt x="49547" y="523992"/>
                  <a:pt x="80920" y="461246"/>
                </a:cubicBezTo>
                <a:cubicBezTo>
                  <a:pt x="84735" y="453617"/>
                  <a:pt x="84870" y="444426"/>
                  <a:pt x="89012" y="436970"/>
                </a:cubicBezTo>
                <a:cubicBezTo>
                  <a:pt x="98458" y="419967"/>
                  <a:pt x="115229" y="406871"/>
                  <a:pt x="121380" y="388418"/>
                </a:cubicBezTo>
                <a:cubicBezTo>
                  <a:pt x="143756" y="321290"/>
                  <a:pt x="106194" y="426878"/>
                  <a:pt x="161840" y="315590"/>
                </a:cubicBezTo>
                <a:cubicBezTo>
                  <a:pt x="167235" y="304800"/>
                  <a:pt x="173273" y="294309"/>
                  <a:pt x="178025" y="283221"/>
                </a:cubicBezTo>
                <a:cubicBezTo>
                  <a:pt x="181385" y="275381"/>
                  <a:pt x="182302" y="266574"/>
                  <a:pt x="186117" y="258945"/>
                </a:cubicBezTo>
                <a:cubicBezTo>
                  <a:pt x="190466" y="250246"/>
                  <a:pt x="197952" y="243368"/>
                  <a:pt x="202301" y="234669"/>
                </a:cubicBezTo>
                <a:cubicBezTo>
                  <a:pt x="206116" y="227040"/>
                  <a:pt x="206578" y="218022"/>
                  <a:pt x="210393" y="210393"/>
                </a:cubicBezTo>
                <a:cubicBezTo>
                  <a:pt x="214742" y="201694"/>
                  <a:pt x="222627" y="195004"/>
                  <a:pt x="226577" y="186117"/>
                </a:cubicBezTo>
                <a:cubicBezTo>
                  <a:pt x="233505" y="170528"/>
                  <a:pt x="237366" y="153749"/>
                  <a:pt x="242761" y="137565"/>
                </a:cubicBezTo>
                <a:lnTo>
                  <a:pt x="250853" y="113289"/>
                </a:lnTo>
                <a:cubicBezTo>
                  <a:pt x="253550" y="105197"/>
                  <a:pt x="254214" y="96110"/>
                  <a:pt x="258945" y="89013"/>
                </a:cubicBezTo>
                <a:lnTo>
                  <a:pt x="275129" y="64737"/>
                </a:lnTo>
                <a:cubicBezTo>
                  <a:pt x="277826" y="56645"/>
                  <a:pt x="279406" y="48090"/>
                  <a:pt x="283221" y="40460"/>
                </a:cubicBezTo>
                <a:cubicBezTo>
                  <a:pt x="302397" y="2106"/>
                  <a:pt x="299405" y="31228"/>
                  <a:pt x="299405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3635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1880" y="333461"/>
            <a:ext cx="5520133" cy="22243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5693" y="2996952"/>
            <a:ext cx="5541017" cy="316808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 bwMode="auto">
          <a:xfrm>
            <a:off x="3841145" y="5373216"/>
            <a:ext cx="4608512" cy="576064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8017609" y="4509120"/>
            <a:ext cx="432048" cy="864096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654005" y="4077072"/>
            <a:ext cx="699308" cy="1296144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275070" y="3356992"/>
            <a:ext cx="510291" cy="720080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Pfeil nach unten 8"/>
          <p:cNvSpPr/>
          <p:nvPr/>
        </p:nvSpPr>
        <p:spPr bwMode="auto">
          <a:xfrm>
            <a:off x="6084168" y="2636912"/>
            <a:ext cx="288032" cy="288032"/>
          </a:xfrm>
          <a:prstGeom prst="downArrow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3721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890" y="1139773"/>
            <a:ext cx="6585027" cy="2785525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hteck 3"/>
          <p:cNvSpPr/>
          <p:nvPr/>
        </p:nvSpPr>
        <p:spPr bwMode="auto">
          <a:xfrm>
            <a:off x="4388549" y="2924944"/>
            <a:ext cx="720080" cy="576064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7164288" y="2335949"/>
            <a:ext cx="720080" cy="648072"/>
          </a:xfrm>
          <a:prstGeom prst="rect">
            <a:avLst/>
          </a:prstGeom>
          <a:solidFill>
            <a:schemeClr val="accent1">
              <a:alpha val="2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827584" y="4106006"/>
            <a:ext cx="1872208" cy="2247692"/>
            <a:chOff x="827584" y="4106006"/>
            <a:chExt cx="1872208" cy="2247692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 rotWithShape="1">
            <a:blip r:embed="rId3"/>
            <a:srcRect l="69328" t="12443" r="2191" b="7541"/>
            <a:stretch/>
          </p:blipFill>
          <p:spPr>
            <a:xfrm>
              <a:off x="827584" y="4106006"/>
              <a:ext cx="1872208" cy="2232249"/>
            </a:xfrm>
            <a:prstGeom prst="rect">
              <a:avLst/>
            </a:prstGeom>
          </p:spPr>
        </p:pic>
        <p:sp>
          <p:nvSpPr>
            <p:cNvPr id="7" name="Rechteck 6"/>
            <p:cNvSpPr/>
            <p:nvPr/>
          </p:nvSpPr>
          <p:spPr bwMode="auto">
            <a:xfrm>
              <a:off x="1017937" y="5705626"/>
              <a:ext cx="720080" cy="648072"/>
            </a:xfrm>
            <a:prstGeom prst="rect">
              <a:avLst/>
            </a:prstGeom>
            <a:solidFill>
              <a:schemeClr val="accent1">
                <a:alpha val="23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3776481" y="4941168"/>
            <a:ext cx="2664296" cy="1728192"/>
            <a:chOff x="3776481" y="4941168"/>
            <a:chExt cx="2664296" cy="1728192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 rotWithShape="1">
            <a:blip r:embed="rId2"/>
            <a:srcRect l="19659" t="27594" r="39881" b="10364"/>
            <a:stretch/>
          </p:blipFill>
          <p:spPr>
            <a:xfrm>
              <a:off x="3776481" y="4941168"/>
              <a:ext cx="2664296" cy="1728192"/>
            </a:xfrm>
            <a:prstGeom prst="rect">
              <a:avLst/>
            </a:prstGeom>
          </p:spPr>
        </p:pic>
        <p:sp>
          <p:nvSpPr>
            <p:cNvPr id="10" name="Rechteck 9"/>
            <p:cNvSpPr/>
            <p:nvPr/>
          </p:nvSpPr>
          <p:spPr bwMode="auto">
            <a:xfrm>
              <a:off x="4499992" y="5949280"/>
              <a:ext cx="864096" cy="576064"/>
            </a:xfrm>
            <a:prstGeom prst="rect">
              <a:avLst/>
            </a:prstGeom>
            <a:solidFill>
              <a:schemeClr val="accent1">
                <a:alpha val="23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9154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7</Words>
  <Application>Microsoft Office PowerPoint</Application>
  <PresentationFormat>Bildschirmpräsentation (4:3)</PresentationFormat>
  <Paragraphs>5</Paragraphs>
  <Slides>7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ecker</dc:creator>
  <cp:lastModifiedBy>ruecker</cp:lastModifiedBy>
  <cp:revision>12</cp:revision>
  <dcterms:created xsi:type="dcterms:W3CDTF">2014-07-28T19:10:54Z</dcterms:created>
  <dcterms:modified xsi:type="dcterms:W3CDTF">2014-07-31T11:46:14Z</dcterms:modified>
</cp:coreProperties>
</file>